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slides/slide43.xml" ContentType="application/vnd.openxmlformats-officedocument.presentationml.slid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174.xml" ContentType="application/vnd.openxmlformats-officedocument.presentationml.tags+xml"/>
  <Override PartName="/ppt/notesSlides/notesSlide43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447" r:id="rId46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openxmlformats.org/officeDocument/2006/relationships/slide" Target="/ppt/slides/slide43.xml" Id="rId46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47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43.xml.rels>&#65279;<?xml version="1.0" encoding="utf-8"?><Relationships xmlns="http://schemas.openxmlformats.org/package/2006/relationships"><Relationship Type="http://schemas.openxmlformats.org/officeDocument/2006/relationships/slide" Target="/ppt/slides/slide43.xml" Id="rId2" /><Relationship Type="http://schemas.openxmlformats.org/officeDocument/2006/relationships/notesMaster" Target="/ppt/notesMasters/notesMaster1.xml" Id="rId1" /></Relationship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3527344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43.xml.rels>&#65279;<?xml version="1.0" encoding="utf-8"?><Relationships xmlns="http://schemas.openxmlformats.org/package/2006/relationships"><Relationship Type="http://schemas.openxmlformats.org/officeDocument/2006/relationships/slideLayout" Target="/ppt/slideLayouts/slideLayout5.xml" Id="rId3" /><Relationship Type="http://schemas.openxmlformats.org/officeDocument/2006/relationships/tags" Target="/ppt/tags/tag174.xml" Id="rId2" /><Relationship Type="http://schemas.openxmlformats.org/officeDocument/2006/relationships/vmlDrawing" Target="/ppt/drawings/vmlDrawing47.vml" Id="rId1" /><Relationship Type="http://schemas.openxmlformats.org/officeDocument/2006/relationships/image" Target="/ppt/media/image4.emf" Id="rId6" /><Relationship Type="http://schemas.openxmlformats.org/officeDocument/2006/relationships/oleObject" Target="/ppt/embeddings/oleObject47.bin" Id="rId5" /><Relationship Type="http://schemas.openxmlformats.org/officeDocument/2006/relationships/notesSlide" Target="/ppt/notesSlides/notesSlide43.xml" Id="rId4" /></Relationships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930603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88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noProof="0">
                <a:sym typeface="Futura"/>
              </a:rPr>
              <a:t>Sunburst diagram, illustrative</a:t>
            </a:r>
            <a:endParaRPr lang="en-US"/>
          </a:p>
        </p:txBody>
      </p:sp>
      <p:grpSp>
        <p:nvGrpSpPr>
          <p:cNvPr id="2" name="Gruppieren 13">
            <a:extLst>
              <a:ext uri="{FF2B5EF4-FFF2-40B4-BE49-F238E27FC236}">
                <a16:creationId xmlns:a16="http://schemas.microsoft.com/office/drawing/2014/main" id="{FB419237-11AC-498A-BB88-56FC56D9DF98}"/>
              </a:ext>
            </a:extLst>
          </p:cNvPr>
          <p:cNvGrpSpPr>
            <a:grpSpLocks/>
          </p:cNvGrpSpPr>
          <p:nvPr/>
        </p:nvGrpSpPr>
        <p:grpSpPr bwMode="gray">
          <a:xfrm>
            <a:off x="688642" y="1738964"/>
            <a:ext cx="4214186" cy="4130132"/>
            <a:chOff x="1606403" y="2129774"/>
            <a:chExt cx="3757814" cy="3682860"/>
          </a:xfrm>
        </p:grpSpPr>
        <p:sp>
          <p:nvSpPr>
            <p:cNvPr id="3" name="Textfeld 38">
              <a:extLst>
                <a:ext uri="{FF2B5EF4-FFF2-40B4-BE49-F238E27FC236}">
                  <a16:creationId xmlns:a16="http://schemas.microsoft.com/office/drawing/2014/main" id="{09214F34-D21E-18B8-C074-2919EBF7B3B5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2641249" y="2129774"/>
              <a:ext cx="317329" cy="274446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0" cap="none" spc="0" normalizeH="0" baseline="0" noProof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</a:rPr>
                <a:t>08.</a:t>
              </a:r>
            </a:p>
          </p:txBody>
        </p:sp>
        <p:sp>
          <p:nvSpPr>
            <p:cNvPr id="4" name="Textfeld 39">
              <a:extLst>
                <a:ext uri="{FF2B5EF4-FFF2-40B4-BE49-F238E27FC236}">
                  <a16:creationId xmlns:a16="http://schemas.microsoft.com/office/drawing/2014/main" id="{99F6F7BC-D536-461C-40C6-C4E30E3C486E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4019821" y="5538182"/>
              <a:ext cx="317329" cy="274446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0" cap="none" spc="0" normalizeH="0" baseline="0" noProof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</a:rPr>
                <a:t>04.</a:t>
              </a:r>
            </a:p>
          </p:txBody>
        </p:sp>
        <p:sp>
          <p:nvSpPr>
            <p:cNvPr id="6" name="Textfeld 40">
              <a:extLst>
                <a:ext uri="{FF2B5EF4-FFF2-40B4-BE49-F238E27FC236}">
                  <a16:creationId xmlns:a16="http://schemas.microsoft.com/office/drawing/2014/main" id="{46E7ABBF-7781-7EC5-FA96-0D7FBCA510D8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043614" y="3205947"/>
              <a:ext cx="317329" cy="274446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0" cap="none" spc="0" normalizeH="0" baseline="0" noProof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</a:rPr>
                <a:t>02.</a:t>
              </a:r>
            </a:p>
          </p:txBody>
        </p:sp>
        <p:sp>
          <p:nvSpPr>
            <p:cNvPr id="7" name="Textfeld 41">
              <a:extLst>
                <a:ext uri="{FF2B5EF4-FFF2-40B4-BE49-F238E27FC236}">
                  <a16:creationId xmlns:a16="http://schemas.microsoft.com/office/drawing/2014/main" id="{B62171B2-802E-47E8-FBF8-C1D8A96AA699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609674" y="4430082"/>
              <a:ext cx="317329" cy="274446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0" cap="none" spc="0" normalizeH="0" baseline="0" noProof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</a:rPr>
                <a:t>06.</a:t>
              </a:r>
            </a:p>
          </p:txBody>
        </p:sp>
        <p:sp>
          <p:nvSpPr>
            <p:cNvPr id="9" name="Textfeld 42">
              <a:extLst>
                <a:ext uri="{FF2B5EF4-FFF2-40B4-BE49-F238E27FC236}">
                  <a16:creationId xmlns:a16="http://schemas.microsoft.com/office/drawing/2014/main" id="{3BB38863-19EC-F166-C3D9-1D4A34B58AB9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046888" y="4430082"/>
              <a:ext cx="317329" cy="274446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0" cap="none" spc="0" normalizeH="0" baseline="0" noProof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</a:rPr>
                <a:t>03.</a:t>
              </a:r>
            </a:p>
          </p:txBody>
        </p:sp>
        <p:sp>
          <p:nvSpPr>
            <p:cNvPr id="11" name="Textfeld 43">
              <a:extLst>
                <a:ext uri="{FF2B5EF4-FFF2-40B4-BE49-F238E27FC236}">
                  <a16:creationId xmlns:a16="http://schemas.microsoft.com/office/drawing/2014/main" id="{E0F5DE24-DF53-BC89-E95F-3E52306ACA66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606403" y="3205945"/>
              <a:ext cx="317329" cy="274446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0" cap="none" spc="0" normalizeH="0" baseline="0" noProof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</a:rPr>
                <a:t>07.</a:t>
              </a:r>
            </a:p>
          </p:txBody>
        </p:sp>
        <p:sp>
          <p:nvSpPr>
            <p:cNvPr id="12" name="Textfeld 44">
              <a:extLst>
                <a:ext uri="{FF2B5EF4-FFF2-40B4-BE49-F238E27FC236}">
                  <a16:creationId xmlns:a16="http://schemas.microsoft.com/office/drawing/2014/main" id="{011D5565-98F6-6EBC-1D2C-8B922E7CC6D4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4011927" y="2129774"/>
              <a:ext cx="317329" cy="274446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0" cap="none" spc="0" normalizeH="0" baseline="0" noProof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</a:rPr>
                <a:t>01.</a:t>
              </a:r>
            </a:p>
          </p:txBody>
        </p:sp>
        <p:sp>
          <p:nvSpPr>
            <p:cNvPr id="13" name="Textfeld 45">
              <a:extLst>
                <a:ext uri="{FF2B5EF4-FFF2-40B4-BE49-F238E27FC236}">
                  <a16:creationId xmlns:a16="http://schemas.microsoft.com/office/drawing/2014/main" id="{D54177CC-D1B9-E035-C735-A0F2088FF325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2649145" y="5538188"/>
              <a:ext cx="317329" cy="274446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0" cap="none" spc="0" normalizeH="0" baseline="0" noProof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</a:rPr>
                <a:t>05.</a:t>
              </a:r>
            </a:p>
          </p:txBody>
        </p:sp>
      </p:grpSp>
      <p:sp>
        <p:nvSpPr>
          <p:cNvPr id="14" name="Freihandform: Form 92">
            <a:extLst>
              <a:ext uri="{FF2B5EF4-FFF2-40B4-BE49-F238E27FC236}">
                <a16:creationId xmlns:a16="http://schemas.microsoft.com/office/drawing/2014/main" id="{873EA2E1-0453-AF18-FD6A-4CED0FFBF3E5}"/>
              </a:ext>
            </a:extLst>
          </p:cNvPr>
          <p:cNvSpPr>
            <a:spLocks/>
          </p:cNvSpPr>
          <p:nvPr/>
        </p:nvSpPr>
        <p:spPr>
          <a:xfrm>
            <a:off x="3047886" y="3273303"/>
            <a:ext cx="460958" cy="504458"/>
          </a:xfrm>
          <a:custGeom>
            <a:avLst/>
            <a:gdLst>
              <a:gd name="connsiteX0" fmla="*/ 185547 w 339280"/>
              <a:gd name="connsiteY0" fmla="*/ 0 h 371189"/>
              <a:gd name="connsiteX1" fmla="*/ 0 w 339280"/>
              <a:gd name="connsiteY1" fmla="*/ 185547 h 371189"/>
              <a:gd name="connsiteX2" fmla="*/ 76867 w 339280"/>
              <a:gd name="connsiteY2" fmla="*/ 371189 h 371189"/>
              <a:gd name="connsiteX3" fmla="*/ 339281 w 339280"/>
              <a:gd name="connsiteY3" fmla="*/ 371189 h 371189"/>
              <a:gd name="connsiteX4" fmla="*/ 185547 w 339280"/>
              <a:gd name="connsiteY4" fmla="*/ 0 h 3711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9280" h="371189">
                <a:moveTo>
                  <a:pt x="185547" y="0"/>
                </a:moveTo>
                <a:lnTo>
                  <a:pt x="0" y="185547"/>
                </a:lnTo>
                <a:cubicBezTo>
                  <a:pt x="47435" y="233077"/>
                  <a:pt x="76867" y="298704"/>
                  <a:pt x="76867" y="371189"/>
                </a:cubicBezTo>
                <a:lnTo>
                  <a:pt x="339281" y="371189"/>
                </a:lnTo>
                <a:cubicBezTo>
                  <a:pt x="339281" y="226219"/>
                  <a:pt x="280511" y="94964"/>
                  <a:pt x="185547" y="0"/>
                </a:cubicBezTo>
                <a:close/>
              </a:path>
            </a:pathLst>
          </a:custGeom>
          <a:solidFill>
            <a:schemeClr val="bg1"/>
          </a:solidFill>
          <a:ln w="6350" cap="flat">
            <a:solidFill>
              <a:schemeClr val="accent5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5" name="Freihandform: Form 93">
            <a:extLst>
              <a:ext uri="{FF2B5EF4-FFF2-40B4-BE49-F238E27FC236}">
                <a16:creationId xmlns:a16="http://schemas.microsoft.com/office/drawing/2014/main" id="{737D3BEF-0AFA-38D1-92E8-116921B1CC9E}"/>
              </a:ext>
            </a:extLst>
          </p:cNvPr>
          <p:cNvSpPr>
            <a:spLocks/>
          </p:cNvSpPr>
          <p:nvPr/>
        </p:nvSpPr>
        <p:spPr>
          <a:xfrm>
            <a:off x="3047886" y="3273303"/>
            <a:ext cx="460958" cy="504458"/>
          </a:xfrm>
          <a:custGeom>
            <a:avLst/>
            <a:gdLst>
              <a:gd name="connsiteX0" fmla="*/ 185547 w 339280"/>
              <a:gd name="connsiteY0" fmla="*/ 0 h 371189"/>
              <a:gd name="connsiteX1" fmla="*/ 0 w 339280"/>
              <a:gd name="connsiteY1" fmla="*/ 185547 h 371189"/>
              <a:gd name="connsiteX2" fmla="*/ 76867 w 339280"/>
              <a:gd name="connsiteY2" fmla="*/ 371189 h 371189"/>
              <a:gd name="connsiteX3" fmla="*/ 339281 w 339280"/>
              <a:gd name="connsiteY3" fmla="*/ 371189 h 371189"/>
              <a:gd name="connsiteX4" fmla="*/ 185547 w 339280"/>
              <a:gd name="connsiteY4" fmla="*/ 0 h 371189"/>
              <a:gd name="connsiteX5" fmla="*/ 185547 w 339280"/>
              <a:gd name="connsiteY5" fmla="*/ 0 h 371189"/>
              <a:gd name="connsiteX6" fmla="*/ 0 w 339280"/>
              <a:gd name="connsiteY6" fmla="*/ 185547 h 371189"/>
              <a:gd name="connsiteX7" fmla="*/ 76867 w 339280"/>
              <a:gd name="connsiteY7" fmla="*/ 371189 h 371189"/>
              <a:gd name="connsiteX8" fmla="*/ 339281 w 339280"/>
              <a:gd name="connsiteY8" fmla="*/ 371189 h 371189"/>
              <a:gd name="connsiteX9" fmla="*/ 185547 w 339280"/>
              <a:gd name="connsiteY9" fmla="*/ 0 h 371189"/>
              <a:gd name="connsiteX10" fmla="*/ 185547 w 339280"/>
              <a:gd name="connsiteY10" fmla="*/ 0 h 371189"/>
              <a:gd name="connsiteX11" fmla="*/ 0 w 339280"/>
              <a:gd name="connsiteY11" fmla="*/ 185547 h 371189"/>
              <a:gd name="connsiteX12" fmla="*/ 76867 w 339280"/>
              <a:gd name="connsiteY12" fmla="*/ 371189 h 371189"/>
              <a:gd name="connsiteX13" fmla="*/ 339281 w 339280"/>
              <a:gd name="connsiteY13" fmla="*/ 371189 h 371189"/>
              <a:gd name="connsiteX14" fmla="*/ 185547 w 339280"/>
              <a:gd name="connsiteY14" fmla="*/ 0 h 371189"/>
              <a:gd name="connsiteX15" fmla="*/ 185547 w 339280"/>
              <a:gd name="connsiteY15" fmla="*/ 0 h 371189"/>
              <a:gd name="connsiteX16" fmla="*/ 0 w 339280"/>
              <a:gd name="connsiteY16" fmla="*/ 185547 h 371189"/>
              <a:gd name="connsiteX17" fmla="*/ 76867 w 339280"/>
              <a:gd name="connsiteY17" fmla="*/ 371189 h 371189"/>
              <a:gd name="connsiteX18" fmla="*/ 339281 w 339280"/>
              <a:gd name="connsiteY18" fmla="*/ 371189 h 371189"/>
              <a:gd name="connsiteX19" fmla="*/ 185547 w 339280"/>
              <a:gd name="connsiteY19" fmla="*/ 0 h 371189"/>
              <a:gd name="connsiteX20" fmla="*/ 185547 w 339280"/>
              <a:gd name="connsiteY20" fmla="*/ 0 h 371189"/>
              <a:gd name="connsiteX21" fmla="*/ 0 w 339280"/>
              <a:gd name="connsiteY21" fmla="*/ 185547 h 371189"/>
              <a:gd name="connsiteX22" fmla="*/ 76867 w 339280"/>
              <a:gd name="connsiteY22" fmla="*/ 371189 h 371189"/>
              <a:gd name="connsiteX23" fmla="*/ 339281 w 339280"/>
              <a:gd name="connsiteY23" fmla="*/ 371189 h 371189"/>
              <a:gd name="connsiteX24" fmla="*/ 185547 w 339280"/>
              <a:gd name="connsiteY24" fmla="*/ 0 h 371189"/>
              <a:gd name="connsiteX25" fmla="*/ 185547 w 339280"/>
              <a:gd name="connsiteY25" fmla="*/ 0 h 371189"/>
              <a:gd name="connsiteX26" fmla="*/ 0 w 339280"/>
              <a:gd name="connsiteY26" fmla="*/ 185547 h 371189"/>
              <a:gd name="connsiteX27" fmla="*/ 76867 w 339280"/>
              <a:gd name="connsiteY27" fmla="*/ 371189 h 371189"/>
              <a:gd name="connsiteX28" fmla="*/ 339281 w 339280"/>
              <a:gd name="connsiteY28" fmla="*/ 371189 h 371189"/>
              <a:gd name="connsiteX29" fmla="*/ 185547 w 339280"/>
              <a:gd name="connsiteY29" fmla="*/ 0 h 371189"/>
              <a:gd name="connsiteX30" fmla="*/ 185547 w 339280"/>
              <a:gd name="connsiteY30" fmla="*/ 0 h 371189"/>
              <a:gd name="connsiteX31" fmla="*/ 0 w 339280"/>
              <a:gd name="connsiteY31" fmla="*/ 185547 h 371189"/>
              <a:gd name="connsiteX32" fmla="*/ 76867 w 339280"/>
              <a:gd name="connsiteY32" fmla="*/ 371189 h 371189"/>
              <a:gd name="connsiteX33" fmla="*/ 339281 w 339280"/>
              <a:gd name="connsiteY33" fmla="*/ 371189 h 371189"/>
              <a:gd name="connsiteX34" fmla="*/ 185547 w 339280"/>
              <a:gd name="connsiteY34" fmla="*/ 0 h 371189"/>
              <a:gd name="connsiteX35" fmla="*/ 185547 w 339280"/>
              <a:gd name="connsiteY35" fmla="*/ 0 h 371189"/>
              <a:gd name="connsiteX36" fmla="*/ 0 w 339280"/>
              <a:gd name="connsiteY36" fmla="*/ 185547 h 371189"/>
              <a:gd name="connsiteX37" fmla="*/ 76867 w 339280"/>
              <a:gd name="connsiteY37" fmla="*/ 371189 h 371189"/>
              <a:gd name="connsiteX38" fmla="*/ 339281 w 339280"/>
              <a:gd name="connsiteY38" fmla="*/ 371189 h 371189"/>
              <a:gd name="connsiteX39" fmla="*/ 185547 w 339280"/>
              <a:gd name="connsiteY39" fmla="*/ 0 h 371189"/>
              <a:gd name="connsiteX40" fmla="*/ 185547 w 339280"/>
              <a:gd name="connsiteY40" fmla="*/ 0 h 371189"/>
              <a:gd name="connsiteX41" fmla="*/ 0 w 339280"/>
              <a:gd name="connsiteY41" fmla="*/ 185547 h 371189"/>
              <a:gd name="connsiteX42" fmla="*/ 76867 w 339280"/>
              <a:gd name="connsiteY42" fmla="*/ 371189 h 371189"/>
              <a:gd name="connsiteX43" fmla="*/ 339281 w 339280"/>
              <a:gd name="connsiteY43" fmla="*/ 371189 h 371189"/>
              <a:gd name="connsiteX44" fmla="*/ 185547 w 339280"/>
              <a:gd name="connsiteY44" fmla="*/ 0 h 371189"/>
              <a:gd name="connsiteX45" fmla="*/ 185547 w 339280"/>
              <a:gd name="connsiteY45" fmla="*/ 0 h 371189"/>
              <a:gd name="connsiteX46" fmla="*/ 0 w 339280"/>
              <a:gd name="connsiteY46" fmla="*/ 185547 h 371189"/>
              <a:gd name="connsiteX47" fmla="*/ 76867 w 339280"/>
              <a:gd name="connsiteY47" fmla="*/ 371189 h 371189"/>
              <a:gd name="connsiteX48" fmla="*/ 339281 w 339280"/>
              <a:gd name="connsiteY48" fmla="*/ 371189 h 371189"/>
              <a:gd name="connsiteX49" fmla="*/ 185547 w 339280"/>
              <a:gd name="connsiteY49" fmla="*/ 0 h 371189"/>
              <a:gd name="connsiteX50" fmla="*/ 185547 w 339280"/>
              <a:gd name="connsiteY50" fmla="*/ 0 h 371189"/>
              <a:gd name="connsiteX51" fmla="*/ 0 w 339280"/>
              <a:gd name="connsiteY51" fmla="*/ 185547 h 371189"/>
              <a:gd name="connsiteX52" fmla="*/ 76867 w 339280"/>
              <a:gd name="connsiteY52" fmla="*/ 371189 h 371189"/>
              <a:gd name="connsiteX53" fmla="*/ 339281 w 339280"/>
              <a:gd name="connsiteY53" fmla="*/ 371189 h 371189"/>
              <a:gd name="connsiteX54" fmla="*/ 185547 w 339280"/>
              <a:gd name="connsiteY54" fmla="*/ 0 h 371189"/>
              <a:gd name="connsiteX55" fmla="*/ 185547 w 339280"/>
              <a:gd name="connsiteY55" fmla="*/ 0 h 371189"/>
              <a:gd name="connsiteX56" fmla="*/ 0 w 339280"/>
              <a:gd name="connsiteY56" fmla="*/ 185547 h 371189"/>
              <a:gd name="connsiteX57" fmla="*/ 76867 w 339280"/>
              <a:gd name="connsiteY57" fmla="*/ 371189 h 371189"/>
              <a:gd name="connsiteX58" fmla="*/ 339281 w 339280"/>
              <a:gd name="connsiteY58" fmla="*/ 371189 h 371189"/>
              <a:gd name="connsiteX59" fmla="*/ 185547 w 339280"/>
              <a:gd name="connsiteY59" fmla="*/ 0 h 371189"/>
              <a:gd name="connsiteX60" fmla="*/ 185547 w 339280"/>
              <a:gd name="connsiteY60" fmla="*/ 0 h 371189"/>
              <a:gd name="connsiteX61" fmla="*/ 0 w 339280"/>
              <a:gd name="connsiteY61" fmla="*/ 185547 h 371189"/>
              <a:gd name="connsiteX62" fmla="*/ 76867 w 339280"/>
              <a:gd name="connsiteY62" fmla="*/ 371189 h 371189"/>
              <a:gd name="connsiteX63" fmla="*/ 339281 w 339280"/>
              <a:gd name="connsiteY63" fmla="*/ 371189 h 371189"/>
              <a:gd name="connsiteX64" fmla="*/ 185547 w 339280"/>
              <a:gd name="connsiteY64" fmla="*/ 0 h 371189"/>
              <a:gd name="connsiteX65" fmla="*/ 185547 w 339280"/>
              <a:gd name="connsiteY65" fmla="*/ 0 h 371189"/>
              <a:gd name="connsiteX66" fmla="*/ 0 w 339280"/>
              <a:gd name="connsiteY66" fmla="*/ 185547 h 371189"/>
              <a:gd name="connsiteX67" fmla="*/ 76867 w 339280"/>
              <a:gd name="connsiteY67" fmla="*/ 371189 h 371189"/>
              <a:gd name="connsiteX68" fmla="*/ 339281 w 339280"/>
              <a:gd name="connsiteY68" fmla="*/ 371189 h 371189"/>
              <a:gd name="connsiteX69" fmla="*/ 185547 w 339280"/>
              <a:gd name="connsiteY69" fmla="*/ 0 h 371189"/>
              <a:gd name="connsiteX70" fmla="*/ 185547 w 339280"/>
              <a:gd name="connsiteY70" fmla="*/ 0 h 371189"/>
              <a:gd name="connsiteX71" fmla="*/ 0 w 339280"/>
              <a:gd name="connsiteY71" fmla="*/ 185547 h 371189"/>
              <a:gd name="connsiteX72" fmla="*/ 76867 w 339280"/>
              <a:gd name="connsiteY72" fmla="*/ 371189 h 371189"/>
              <a:gd name="connsiteX73" fmla="*/ 339281 w 339280"/>
              <a:gd name="connsiteY73" fmla="*/ 371189 h 371189"/>
              <a:gd name="connsiteX74" fmla="*/ 185547 w 339280"/>
              <a:gd name="connsiteY74" fmla="*/ 0 h 371189"/>
              <a:gd name="connsiteX75" fmla="*/ 185547 w 339280"/>
              <a:gd name="connsiteY75" fmla="*/ 0 h 371189"/>
              <a:gd name="connsiteX76" fmla="*/ 0 w 339280"/>
              <a:gd name="connsiteY76" fmla="*/ 185547 h 371189"/>
              <a:gd name="connsiteX77" fmla="*/ 76867 w 339280"/>
              <a:gd name="connsiteY77" fmla="*/ 371189 h 371189"/>
              <a:gd name="connsiteX78" fmla="*/ 339281 w 339280"/>
              <a:gd name="connsiteY78" fmla="*/ 371189 h 371189"/>
              <a:gd name="connsiteX79" fmla="*/ 185547 w 339280"/>
              <a:gd name="connsiteY79" fmla="*/ 0 h 3711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339280" h="371189">
                <a:moveTo>
                  <a:pt x="185547" y="0"/>
                </a:moveTo>
                <a:lnTo>
                  <a:pt x="0" y="185547"/>
                </a:lnTo>
                <a:cubicBezTo>
                  <a:pt x="47435" y="233077"/>
                  <a:pt x="76867" y="298704"/>
                  <a:pt x="76867" y="371189"/>
                </a:cubicBezTo>
                <a:lnTo>
                  <a:pt x="339281" y="371189"/>
                </a:lnTo>
                <a:cubicBezTo>
                  <a:pt x="339281" y="226219"/>
                  <a:pt x="280511" y="94964"/>
                  <a:pt x="185547" y="0"/>
                </a:cubicBezTo>
                <a:close/>
                <a:moveTo>
                  <a:pt x="185547" y="0"/>
                </a:moveTo>
                <a:lnTo>
                  <a:pt x="0" y="185547"/>
                </a:lnTo>
                <a:cubicBezTo>
                  <a:pt x="47435" y="233077"/>
                  <a:pt x="76867" y="298704"/>
                  <a:pt x="76867" y="371189"/>
                </a:cubicBezTo>
                <a:lnTo>
                  <a:pt x="339281" y="371189"/>
                </a:lnTo>
                <a:cubicBezTo>
                  <a:pt x="339281" y="226219"/>
                  <a:pt x="280511" y="94964"/>
                  <a:pt x="185547" y="0"/>
                </a:cubicBezTo>
                <a:close/>
                <a:moveTo>
                  <a:pt x="185547" y="0"/>
                </a:moveTo>
                <a:lnTo>
                  <a:pt x="0" y="185547"/>
                </a:lnTo>
                <a:cubicBezTo>
                  <a:pt x="47435" y="233077"/>
                  <a:pt x="76867" y="298704"/>
                  <a:pt x="76867" y="371189"/>
                </a:cubicBezTo>
                <a:lnTo>
                  <a:pt x="339281" y="371189"/>
                </a:lnTo>
                <a:cubicBezTo>
                  <a:pt x="339281" y="226219"/>
                  <a:pt x="280511" y="94964"/>
                  <a:pt x="185547" y="0"/>
                </a:cubicBezTo>
                <a:close/>
                <a:moveTo>
                  <a:pt x="185547" y="0"/>
                </a:moveTo>
                <a:lnTo>
                  <a:pt x="0" y="185547"/>
                </a:lnTo>
                <a:cubicBezTo>
                  <a:pt x="47435" y="233077"/>
                  <a:pt x="76867" y="298704"/>
                  <a:pt x="76867" y="371189"/>
                </a:cubicBezTo>
                <a:lnTo>
                  <a:pt x="339281" y="371189"/>
                </a:lnTo>
                <a:cubicBezTo>
                  <a:pt x="339281" y="226219"/>
                  <a:pt x="280511" y="94964"/>
                  <a:pt x="185547" y="0"/>
                </a:cubicBezTo>
                <a:close/>
                <a:moveTo>
                  <a:pt x="185547" y="0"/>
                </a:moveTo>
                <a:lnTo>
                  <a:pt x="0" y="185547"/>
                </a:lnTo>
                <a:cubicBezTo>
                  <a:pt x="47435" y="233077"/>
                  <a:pt x="76867" y="298704"/>
                  <a:pt x="76867" y="371189"/>
                </a:cubicBezTo>
                <a:lnTo>
                  <a:pt x="339281" y="371189"/>
                </a:lnTo>
                <a:cubicBezTo>
                  <a:pt x="339281" y="226219"/>
                  <a:pt x="280511" y="94964"/>
                  <a:pt x="185547" y="0"/>
                </a:cubicBezTo>
                <a:close/>
                <a:moveTo>
                  <a:pt x="185547" y="0"/>
                </a:moveTo>
                <a:lnTo>
                  <a:pt x="0" y="185547"/>
                </a:lnTo>
                <a:cubicBezTo>
                  <a:pt x="47435" y="233077"/>
                  <a:pt x="76867" y="298704"/>
                  <a:pt x="76867" y="371189"/>
                </a:cubicBezTo>
                <a:lnTo>
                  <a:pt x="339281" y="371189"/>
                </a:lnTo>
                <a:cubicBezTo>
                  <a:pt x="339281" y="226219"/>
                  <a:pt x="280511" y="94964"/>
                  <a:pt x="185547" y="0"/>
                </a:cubicBezTo>
                <a:close/>
                <a:moveTo>
                  <a:pt x="185547" y="0"/>
                </a:moveTo>
                <a:lnTo>
                  <a:pt x="0" y="185547"/>
                </a:lnTo>
                <a:cubicBezTo>
                  <a:pt x="47435" y="233077"/>
                  <a:pt x="76867" y="298704"/>
                  <a:pt x="76867" y="371189"/>
                </a:cubicBezTo>
                <a:lnTo>
                  <a:pt x="339281" y="371189"/>
                </a:lnTo>
                <a:cubicBezTo>
                  <a:pt x="339281" y="226219"/>
                  <a:pt x="280511" y="94964"/>
                  <a:pt x="185547" y="0"/>
                </a:cubicBezTo>
                <a:close/>
                <a:moveTo>
                  <a:pt x="185547" y="0"/>
                </a:moveTo>
                <a:lnTo>
                  <a:pt x="0" y="185547"/>
                </a:lnTo>
                <a:cubicBezTo>
                  <a:pt x="47435" y="233077"/>
                  <a:pt x="76867" y="298704"/>
                  <a:pt x="76867" y="371189"/>
                </a:cubicBezTo>
                <a:lnTo>
                  <a:pt x="339281" y="371189"/>
                </a:lnTo>
                <a:cubicBezTo>
                  <a:pt x="339281" y="226219"/>
                  <a:pt x="280511" y="94964"/>
                  <a:pt x="185547" y="0"/>
                </a:cubicBezTo>
                <a:close/>
                <a:moveTo>
                  <a:pt x="185547" y="0"/>
                </a:moveTo>
                <a:lnTo>
                  <a:pt x="0" y="185547"/>
                </a:lnTo>
                <a:cubicBezTo>
                  <a:pt x="47435" y="233077"/>
                  <a:pt x="76867" y="298704"/>
                  <a:pt x="76867" y="371189"/>
                </a:cubicBezTo>
                <a:lnTo>
                  <a:pt x="339281" y="371189"/>
                </a:lnTo>
                <a:cubicBezTo>
                  <a:pt x="339281" y="226219"/>
                  <a:pt x="280511" y="94964"/>
                  <a:pt x="185547" y="0"/>
                </a:cubicBezTo>
                <a:close/>
                <a:moveTo>
                  <a:pt x="185547" y="0"/>
                </a:moveTo>
                <a:lnTo>
                  <a:pt x="0" y="185547"/>
                </a:lnTo>
                <a:cubicBezTo>
                  <a:pt x="47435" y="233077"/>
                  <a:pt x="76867" y="298704"/>
                  <a:pt x="76867" y="371189"/>
                </a:cubicBezTo>
                <a:lnTo>
                  <a:pt x="339281" y="371189"/>
                </a:lnTo>
                <a:cubicBezTo>
                  <a:pt x="339281" y="226219"/>
                  <a:pt x="280511" y="94964"/>
                  <a:pt x="185547" y="0"/>
                </a:cubicBezTo>
                <a:close/>
                <a:moveTo>
                  <a:pt x="185547" y="0"/>
                </a:moveTo>
                <a:lnTo>
                  <a:pt x="0" y="185547"/>
                </a:lnTo>
                <a:cubicBezTo>
                  <a:pt x="47435" y="233077"/>
                  <a:pt x="76867" y="298704"/>
                  <a:pt x="76867" y="371189"/>
                </a:cubicBezTo>
                <a:lnTo>
                  <a:pt x="339281" y="371189"/>
                </a:lnTo>
                <a:cubicBezTo>
                  <a:pt x="339281" y="226219"/>
                  <a:pt x="280511" y="94964"/>
                  <a:pt x="185547" y="0"/>
                </a:cubicBezTo>
                <a:close/>
                <a:moveTo>
                  <a:pt x="185547" y="0"/>
                </a:moveTo>
                <a:lnTo>
                  <a:pt x="0" y="185547"/>
                </a:lnTo>
                <a:cubicBezTo>
                  <a:pt x="47435" y="233077"/>
                  <a:pt x="76867" y="298704"/>
                  <a:pt x="76867" y="371189"/>
                </a:cubicBezTo>
                <a:lnTo>
                  <a:pt x="339281" y="371189"/>
                </a:lnTo>
                <a:cubicBezTo>
                  <a:pt x="339281" y="226219"/>
                  <a:pt x="280511" y="94964"/>
                  <a:pt x="185547" y="0"/>
                </a:cubicBezTo>
                <a:close/>
                <a:moveTo>
                  <a:pt x="185547" y="0"/>
                </a:moveTo>
                <a:lnTo>
                  <a:pt x="0" y="185547"/>
                </a:lnTo>
                <a:cubicBezTo>
                  <a:pt x="47435" y="233077"/>
                  <a:pt x="76867" y="298704"/>
                  <a:pt x="76867" y="371189"/>
                </a:cubicBezTo>
                <a:lnTo>
                  <a:pt x="339281" y="371189"/>
                </a:lnTo>
                <a:cubicBezTo>
                  <a:pt x="339281" y="226219"/>
                  <a:pt x="280511" y="94964"/>
                  <a:pt x="185547" y="0"/>
                </a:cubicBezTo>
                <a:close/>
                <a:moveTo>
                  <a:pt x="185547" y="0"/>
                </a:moveTo>
                <a:lnTo>
                  <a:pt x="0" y="185547"/>
                </a:lnTo>
                <a:cubicBezTo>
                  <a:pt x="47435" y="233077"/>
                  <a:pt x="76867" y="298704"/>
                  <a:pt x="76867" y="371189"/>
                </a:cubicBezTo>
                <a:lnTo>
                  <a:pt x="339281" y="371189"/>
                </a:lnTo>
                <a:cubicBezTo>
                  <a:pt x="339281" y="226219"/>
                  <a:pt x="280511" y="94964"/>
                  <a:pt x="185547" y="0"/>
                </a:cubicBezTo>
                <a:close/>
                <a:moveTo>
                  <a:pt x="185547" y="0"/>
                </a:moveTo>
                <a:lnTo>
                  <a:pt x="0" y="185547"/>
                </a:lnTo>
                <a:cubicBezTo>
                  <a:pt x="47435" y="233077"/>
                  <a:pt x="76867" y="298704"/>
                  <a:pt x="76867" y="371189"/>
                </a:cubicBezTo>
                <a:lnTo>
                  <a:pt x="339281" y="371189"/>
                </a:lnTo>
                <a:cubicBezTo>
                  <a:pt x="339281" y="226219"/>
                  <a:pt x="280511" y="94964"/>
                  <a:pt x="185547" y="0"/>
                </a:cubicBezTo>
                <a:close/>
                <a:moveTo>
                  <a:pt x="185547" y="0"/>
                </a:moveTo>
                <a:lnTo>
                  <a:pt x="0" y="185547"/>
                </a:lnTo>
                <a:cubicBezTo>
                  <a:pt x="47435" y="233077"/>
                  <a:pt x="76867" y="298704"/>
                  <a:pt x="76867" y="371189"/>
                </a:cubicBezTo>
                <a:lnTo>
                  <a:pt x="339281" y="371189"/>
                </a:lnTo>
                <a:cubicBezTo>
                  <a:pt x="339281" y="226219"/>
                  <a:pt x="280511" y="94964"/>
                  <a:pt x="185547" y="0"/>
                </a:cubicBezTo>
                <a:close/>
              </a:path>
            </a:pathLst>
          </a:custGeom>
          <a:solidFill>
            <a:schemeClr val="bg1"/>
          </a:solidFill>
          <a:ln w="6350" cap="flat">
            <a:solidFill>
              <a:schemeClr val="accent5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6" name="Freihandform: Form 94">
            <a:extLst>
              <a:ext uri="{FF2B5EF4-FFF2-40B4-BE49-F238E27FC236}">
                <a16:creationId xmlns:a16="http://schemas.microsoft.com/office/drawing/2014/main" id="{926FEB3C-8103-2872-5D6B-8402A0F6A915}"/>
              </a:ext>
            </a:extLst>
          </p:cNvPr>
          <p:cNvSpPr>
            <a:spLocks/>
          </p:cNvSpPr>
          <p:nvPr/>
        </p:nvSpPr>
        <p:spPr>
          <a:xfrm>
            <a:off x="3047886" y="3273303"/>
            <a:ext cx="460958" cy="504458"/>
          </a:xfrm>
          <a:custGeom>
            <a:avLst/>
            <a:gdLst>
              <a:gd name="connsiteX0" fmla="*/ 185547 w 339280"/>
              <a:gd name="connsiteY0" fmla="*/ 0 h 371189"/>
              <a:gd name="connsiteX1" fmla="*/ 0 w 339280"/>
              <a:gd name="connsiteY1" fmla="*/ 185547 h 371189"/>
              <a:gd name="connsiteX2" fmla="*/ 76867 w 339280"/>
              <a:gd name="connsiteY2" fmla="*/ 371189 h 371189"/>
              <a:gd name="connsiteX3" fmla="*/ 339281 w 339280"/>
              <a:gd name="connsiteY3" fmla="*/ 371189 h 371189"/>
              <a:gd name="connsiteX4" fmla="*/ 185547 w 339280"/>
              <a:gd name="connsiteY4" fmla="*/ 0 h 371189"/>
              <a:gd name="connsiteX5" fmla="*/ 185547 w 339280"/>
              <a:gd name="connsiteY5" fmla="*/ 0 h 371189"/>
              <a:gd name="connsiteX6" fmla="*/ 0 w 339280"/>
              <a:gd name="connsiteY6" fmla="*/ 185547 h 371189"/>
              <a:gd name="connsiteX7" fmla="*/ 76867 w 339280"/>
              <a:gd name="connsiteY7" fmla="*/ 371189 h 371189"/>
              <a:gd name="connsiteX8" fmla="*/ 339281 w 339280"/>
              <a:gd name="connsiteY8" fmla="*/ 371189 h 371189"/>
              <a:gd name="connsiteX9" fmla="*/ 185547 w 339280"/>
              <a:gd name="connsiteY9" fmla="*/ 0 h 371189"/>
              <a:gd name="connsiteX10" fmla="*/ 185547 w 339280"/>
              <a:gd name="connsiteY10" fmla="*/ 0 h 371189"/>
              <a:gd name="connsiteX11" fmla="*/ 0 w 339280"/>
              <a:gd name="connsiteY11" fmla="*/ 185547 h 371189"/>
              <a:gd name="connsiteX12" fmla="*/ 76867 w 339280"/>
              <a:gd name="connsiteY12" fmla="*/ 371189 h 371189"/>
              <a:gd name="connsiteX13" fmla="*/ 339281 w 339280"/>
              <a:gd name="connsiteY13" fmla="*/ 371189 h 371189"/>
              <a:gd name="connsiteX14" fmla="*/ 185547 w 339280"/>
              <a:gd name="connsiteY14" fmla="*/ 0 h 371189"/>
              <a:gd name="connsiteX15" fmla="*/ 185547 w 339280"/>
              <a:gd name="connsiteY15" fmla="*/ 0 h 371189"/>
              <a:gd name="connsiteX16" fmla="*/ 0 w 339280"/>
              <a:gd name="connsiteY16" fmla="*/ 185547 h 371189"/>
              <a:gd name="connsiteX17" fmla="*/ 76867 w 339280"/>
              <a:gd name="connsiteY17" fmla="*/ 371189 h 371189"/>
              <a:gd name="connsiteX18" fmla="*/ 339281 w 339280"/>
              <a:gd name="connsiteY18" fmla="*/ 371189 h 371189"/>
              <a:gd name="connsiteX19" fmla="*/ 185547 w 339280"/>
              <a:gd name="connsiteY19" fmla="*/ 0 h 371189"/>
              <a:gd name="connsiteX20" fmla="*/ 185547 w 339280"/>
              <a:gd name="connsiteY20" fmla="*/ 0 h 371189"/>
              <a:gd name="connsiteX21" fmla="*/ 0 w 339280"/>
              <a:gd name="connsiteY21" fmla="*/ 185547 h 371189"/>
              <a:gd name="connsiteX22" fmla="*/ 76867 w 339280"/>
              <a:gd name="connsiteY22" fmla="*/ 371189 h 371189"/>
              <a:gd name="connsiteX23" fmla="*/ 339281 w 339280"/>
              <a:gd name="connsiteY23" fmla="*/ 371189 h 371189"/>
              <a:gd name="connsiteX24" fmla="*/ 185547 w 339280"/>
              <a:gd name="connsiteY24" fmla="*/ 0 h 371189"/>
              <a:gd name="connsiteX25" fmla="*/ 185547 w 339280"/>
              <a:gd name="connsiteY25" fmla="*/ 0 h 371189"/>
              <a:gd name="connsiteX26" fmla="*/ 0 w 339280"/>
              <a:gd name="connsiteY26" fmla="*/ 185547 h 371189"/>
              <a:gd name="connsiteX27" fmla="*/ 76867 w 339280"/>
              <a:gd name="connsiteY27" fmla="*/ 371189 h 371189"/>
              <a:gd name="connsiteX28" fmla="*/ 339281 w 339280"/>
              <a:gd name="connsiteY28" fmla="*/ 371189 h 371189"/>
              <a:gd name="connsiteX29" fmla="*/ 185547 w 339280"/>
              <a:gd name="connsiteY29" fmla="*/ 0 h 371189"/>
              <a:gd name="connsiteX30" fmla="*/ 185547 w 339280"/>
              <a:gd name="connsiteY30" fmla="*/ 0 h 371189"/>
              <a:gd name="connsiteX31" fmla="*/ 0 w 339280"/>
              <a:gd name="connsiteY31" fmla="*/ 185547 h 371189"/>
              <a:gd name="connsiteX32" fmla="*/ 76867 w 339280"/>
              <a:gd name="connsiteY32" fmla="*/ 371189 h 371189"/>
              <a:gd name="connsiteX33" fmla="*/ 339281 w 339280"/>
              <a:gd name="connsiteY33" fmla="*/ 371189 h 371189"/>
              <a:gd name="connsiteX34" fmla="*/ 185547 w 339280"/>
              <a:gd name="connsiteY34" fmla="*/ 0 h 371189"/>
              <a:gd name="connsiteX35" fmla="*/ 185547 w 339280"/>
              <a:gd name="connsiteY35" fmla="*/ 0 h 371189"/>
              <a:gd name="connsiteX36" fmla="*/ 0 w 339280"/>
              <a:gd name="connsiteY36" fmla="*/ 185547 h 371189"/>
              <a:gd name="connsiteX37" fmla="*/ 76867 w 339280"/>
              <a:gd name="connsiteY37" fmla="*/ 371189 h 371189"/>
              <a:gd name="connsiteX38" fmla="*/ 339281 w 339280"/>
              <a:gd name="connsiteY38" fmla="*/ 371189 h 371189"/>
              <a:gd name="connsiteX39" fmla="*/ 185547 w 339280"/>
              <a:gd name="connsiteY39" fmla="*/ 0 h 371189"/>
              <a:gd name="connsiteX40" fmla="*/ 185547 w 339280"/>
              <a:gd name="connsiteY40" fmla="*/ 0 h 371189"/>
              <a:gd name="connsiteX41" fmla="*/ 0 w 339280"/>
              <a:gd name="connsiteY41" fmla="*/ 185547 h 371189"/>
              <a:gd name="connsiteX42" fmla="*/ 76867 w 339280"/>
              <a:gd name="connsiteY42" fmla="*/ 371189 h 371189"/>
              <a:gd name="connsiteX43" fmla="*/ 339281 w 339280"/>
              <a:gd name="connsiteY43" fmla="*/ 371189 h 371189"/>
              <a:gd name="connsiteX44" fmla="*/ 185547 w 339280"/>
              <a:gd name="connsiteY44" fmla="*/ 0 h 371189"/>
              <a:gd name="connsiteX45" fmla="*/ 185547 w 339280"/>
              <a:gd name="connsiteY45" fmla="*/ 0 h 371189"/>
              <a:gd name="connsiteX46" fmla="*/ 0 w 339280"/>
              <a:gd name="connsiteY46" fmla="*/ 185547 h 371189"/>
              <a:gd name="connsiteX47" fmla="*/ 76867 w 339280"/>
              <a:gd name="connsiteY47" fmla="*/ 371189 h 371189"/>
              <a:gd name="connsiteX48" fmla="*/ 339281 w 339280"/>
              <a:gd name="connsiteY48" fmla="*/ 371189 h 371189"/>
              <a:gd name="connsiteX49" fmla="*/ 185547 w 339280"/>
              <a:gd name="connsiteY49" fmla="*/ 0 h 371189"/>
              <a:gd name="connsiteX50" fmla="*/ 185547 w 339280"/>
              <a:gd name="connsiteY50" fmla="*/ 0 h 371189"/>
              <a:gd name="connsiteX51" fmla="*/ 0 w 339280"/>
              <a:gd name="connsiteY51" fmla="*/ 185547 h 371189"/>
              <a:gd name="connsiteX52" fmla="*/ 76867 w 339280"/>
              <a:gd name="connsiteY52" fmla="*/ 371189 h 371189"/>
              <a:gd name="connsiteX53" fmla="*/ 339281 w 339280"/>
              <a:gd name="connsiteY53" fmla="*/ 371189 h 371189"/>
              <a:gd name="connsiteX54" fmla="*/ 185547 w 339280"/>
              <a:gd name="connsiteY54" fmla="*/ 0 h 371189"/>
              <a:gd name="connsiteX55" fmla="*/ 185547 w 339280"/>
              <a:gd name="connsiteY55" fmla="*/ 0 h 371189"/>
              <a:gd name="connsiteX56" fmla="*/ 0 w 339280"/>
              <a:gd name="connsiteY56" fmla="*/ 185547 h 371189"/>
              <a:gd name="connsiteX57" fmla="*/ 76867 w 339280"/>
              <a:gd name="connsiteY57" fmla="*/ 371189 h 371189"/>
              <a:gd name="connsiteX58" fmla="*/ 339281 w 339280"/>
              <a:gd name="connsiteY58" fmla="*/ 371189 h 371189"/>
              <a:gd name="connsiteX59" fmla="*/ 185547 w 339280"/>
              <a:gd name="connsiteY59" fmla="*/ 0 h 371189"/>
              <a:gd name="connsiteX60" fmla="*/ 185547 w 339280"/>
              <a:gd name="connsiteY60" fmla="*/ 0 h 371189"/>
              <a:gd name="connsiteX61" fmla="*/ 0 w 339280"/>
              <a:gd name="connsiteY61" fmla="*/ 185547 h 371189"/>
              <a:gd name="connsiteX62" fmla="*/ 76867 w 339280"/>
              <a:gd name="connsiteY62" fmla="*/ 371189 h 371189"/>
              <a:gd name="connsiteX63" fmla="*/ 339281 w 339280"/>
              <a:gd name="connsiteY63" fmla="*/ 371189 h 371189"/>
              <a:gd name="connsiteX64" fmla="*/ 185547 w 339280"/>
              <a:gd name="connsiteY64" fmla="*/ 0 h 371189"/>
              <a:gd name="connsiteX65" fmla="*/ 185547 w 339280"/>
              <a:gd name="connsiteY65" fmla="*/ 0 h 371189"/>
              <a:gd name="connsiteX66" fmla="*/ 0 w 339280"/>
              <a:gd name="connsiteY66" fmla="*/ 185547 h 371189"/>
              <a:gd name="connsiteX67" fmla="*/ 76867 w 339280"/>
              <a:gd name="connsiteY67" fmla="*/ 371189 h 371189"/>
              <a:gd name="connsiteX68" fmla="*/ 339281 w 339280"/>
              <a:gd name="connsiteY68" fmla="*/ 371189 h 371189"/>
              <a:gd name="connsiteX69" fmla="*/ 185547 w 339280"/>
              <a:gd name="connsiteY69" fmla="*/ 0 h 371189"/>
              <a:gd name="connsiteX70" fmla="*/ 185547 w 339280"/>
              <a:gd name="connsiteY70" fmla="*/ 0 h 371189"/>
              <a:gd name="connsiteX71" fmla="*/ 0 w 339280"/>
              <a:gd name="connsiteY71" fmla="*/ 185547 h 371189"/>
              <a:gd name="connsiteX72" fmla="*/ 76867 w 339280"/>
              <a:gd name="connsiteY72" fmla="*/ 371189 h 371189"/>
              <a:gd name="connsiteX73" fmla="*/ 339281 w 339280"/>
              <a:gd name="connsiteY73" fmla="*/ 371189 h 371189"/>
              <a:gd name="connsiteX74" fmla="*/ 185547 w 339280"/>
              <a:gd name="connsiteY74" fmla="*/ 0 h 371189"/>
              <a:gd name="connsiteX75" fmla="*/ 185547 w 339280"/>
              <a:gd name="connsiteY75" fmla="*/ 0 h 371189"/>
              <a:gd name="connsiteX76" fmla="*/ 0 w 339280"/>
              <a:gd name="connsiteY76" fmla="*/ 185547 h 371189"/>
              <a:gd name="connsiteX77" fmla="*/ 76867 w 339280"/>
              <a:gd name="connsiteY77" fmla="*/ 371189 h 371189"/>
              <a:gd name="connsiteX78" fmla="*/ 339281 w 339280"/>
              <a:gd name="connsiteY78" fmla="*/ 371189 h 371189"/>
              <a:gd name="connsiteX79" fmla="*/ 185547 w 339280"/>
              <a:gd name="connsiteY79" fmla="*/ 0 h 371189"/>
              <a:gd name="connsiteX80" fmla="*/ 185547 w 339280"/>
              <a:gd name="connsiteY80" fmla="*/ 0 h 371189"/>
              <a:gd name="connsiteX81" fmla="*/ 0 w 339280"/>
              <a:gd name="connsiteY81" fmla="*/ 185547 h 371189"/>
              <a:gd name="connsiteX82" fmla="*/ 76867 w 339280"/>
              <a:gd name="connsiteY82" fmla="*/ 371189 h 371189"/>
              <a:gd name="connsiteX83" fmla="*/ 339281 w 339280"/>
              <a:gd name="connsiteY83" fmla="*/ 371189 h 371189"/>
              <a:gd name="connsiteX84" fmla="*/ 185547 w 339280"/>
              <a:gd name="connsiteY84" fmla="*/ 0 h 371189"/>
              <a:gd name="connsiteX85" fmla="*/ 185547 w 339280"/>
              <a:gd name="connsiteY85" fmla="*/ 0 h 371189"/>
              <a:gd name="connsiteX86" fmla="*/ 0 w 339280"/>
              <a:gd name="connsiteY86" fmla="*/ 185547 h 371189"/>
              <a:gd name="connsiteX87" fmla="*/ 76867 w 339280"/>
              <a:gd name="connsiteY87" fmla="*/ 371189 h 371189"/>
              <a:gd name="connsiteX88" fmla="*/ 339281 w 339280"/>
              <a:gd name="connsiteY88" fmla="*/ 371189 h 371189"/>
              <a:gd name="connsiteX89" fmla="*/ 185547 w 339280"/>
              <a:gd name="connsiteY89" fmla="*/ 0 h 371189"/>
              <a:gd name="connsiteX90" fmla="*/ 185547 w 339280"/>
              <a:gd name="connsiteY90" fmla="*/ 0 h 371189"/>
              <a:gd name="connsiteX91" fmla="*/ 0 w 339280"/>
              <a:gd name="connsiteY91" fmla="*/ 185547 h 371189"/>
              <a:gd name="connsiteX92" fmla="*/ 76867 w 339280"/>
              <a:gd name="connsiteY92" fmla="*/ 371189 h 371189"/>
              <a:gd name="connsiteX93" fmla="*/ 339281 w 339280"/>
              <a:gd name="connsiteY93" fmla="*/ 371189 h 371189"/>
              <a:gd name="connsiteX94" fmla="*/ 185547 w 339280"/>
              <a:gd name="connsiteY94" fmla="*/ 0 h 371189"/>
              <a:gd name="connsiteX95" fmla="*/ 185547 w 339280"/>
              <a:gd name="connsiteY95" fmla="*/ 0 h 371189"/>
              <a:gd name="connsiteX96" fmla="*/ 0 w 339280"/>
              <a:gd name="connsiteY96" fmla="*/ 185547 h 371189"/>
              <a:gd name="connsiteX97" fmla="*/ 76867 w 339280"/>
              <a:gd name="connsiteY97" fmla="*/ 371189 h 371189"/>
              <a:gd name="connsiteX98" fmla="*/ 339281 w 339280"/>
              <a:gd name="connsiteY98" fmla="*/ 371189 h 371189"/>
              <a:gd name="connsiteX99" fmla="*/ 185547 w 339280"/>
              <a:gd name="connsiteY99" fmla="*/ 0 h 371189"/>
              <a:gd name="connsiteX100" fmla="*/ 185547 w 339280"/>
              <a:gd name="connsiteY100" fmla="*/ 0 h 371189"/>
              <a:gd name="connsiteX101" fmla="*/ 0 w 339280"/>
              <a:gd name="connsiteY101" fmla="*/ 185547 h 371189"/>
              <a:gd name="connsiteX102" fmla="*/ 76867 w 339280"/>
              <a:gd name="connsiteY102" fmla="*/ 371189 h 371189"/>
              <a:gd name="connsiteX103" fmla="*/ 339281 w 339280"/>
              <a:gd name="connsiteY103" fmla="*/ 371189 h 371189"/>
              <a:gd name="connsiteX104" fmla="*/ 185547 w 339280"/>
              <a:gd name="connsiteY104" fmla="*/ 0 h 371189"/>
              <a:gd name="connsiteX105" fmla="*/ 185547 w 339280"/>
              <a:gd name="connsiteY105" fmla="*/ 0 h 371189"/>
              <a:gd name="connsiteX106" fmla="*/ 0 w 339280"/>
              <a:gd name="connsiteY106" fmla="*/ 185547 h 371189"/>
              <a:gd name="connsiteX107" fmla="*/ 76867 w 339280"/>
              <a:gd name="connsiteY107" fmla="*/ 371189 h 371189"/>
              <a:gd name="connsiteX108" fmla="*/ 339281 w 339280"/>
              <a:gd name="connsiteY108" fmla="*/ 371189 h 371189"/>
              <a:gd name="connsiteX109" fmla="*/ 185547 w 339280"/>
              <a:gd name="connsiteY109" fmla="*/ 0 h 371189"/>
              <a:gd name="connsiteX110" fmla="*/ 185547 w 339280"/>
              <a:gd name="connsiteY110" fmla="*/ 0 h 371189"/>
              <a:gd name="connsiteX111" fmla="*/ 0 w 339280"/>
              <a:gd name="connsiteY111" fmla="*/ 185547 h 371189"/>
              <a:gd name="connsiteX112" fmla="*/ 76867 w 339280"/>
              <a:gd name="connsiteY112" fmla="*/ 371189 h 371189"/>
              <a:gd name="connsiteX113" fmla="*/ 339281 w 339280"/>
              <a:gd name="connsiteY113" fmla="*/ 371189 h 371189"/>
              <a:gd name="connsiteX114" fmla="*/ 185547 w 339280"/>
              <a:gd name="connsiteY114" fmla="*/ 0 h 371189"/>
              <a:gd name="connsiteX115" fmla="*/ 185547 w 339280"/>
              <a:gd name="connsiteY115" fmla="*/ 0 h 371189"/>
              <a:gd name="connsiteX116" fmla="*/ 0 w 339280"/>
              <a:gd name="connsiteY116" fmla="*/ 185547 h 371189"/>
              <a:gd name="connsiteX117" fmla="*/ 76867 w 339280"/>
              <a:gd name="connsiteY117" fmla="*/ 371189 h 371189"/>
              <a:gd name="connsiteX118" fmla="*/ 339281 w 339280"/>
              <a:gd name="connsiteY118" fmla="*/ 371189 h 371189"/>
              <a:gd name="connsiteX119" fmla="*/ 185547 w 339280"/>
              <a:gd name="connsiteY119" fmla="*/ 0 h 371189"/>
              <a:gd name="connsiteX120" fmla="*/ 185547 w 339280"/>
              <a:gd name="connsiteY120" fmla="*/ 0 h 371189"/>
              <a:gd name="connsiteX121" fmla="*/ 0 w 339280"/>
              <a:gd name="connsiteY121" fmla="*/ 185547 h 371189"/>
              <a:gd name="connsiteX122" fmla="*/ 76867 w 339280"/>
              <a:gd name="connsiteY122" fmla="*/ 371189 h 371189"/>
              <a:gd name="connsiteX123" fmla="*/ 339281 w 339280"/>
              <a:gd name="connsiteY123" fmla="*/ 371189 h 371189"/>
              <a:gd name="connsiteX124" fmla="*/ 185547 w 339280"/>
              <a:gd name="connsiteY124" fmla="*/ 0 h 371189"/>
              <a:gd name="connsiteX125" fmla="*/ 185547 w 339280"/>
              <a:gd name="connsiteY125" fmla="*/ 0 h 371189"/>
              <a:gd name="connsiteX126" fmla="*/ 0 w 339280"/>
              <a:gd name="connsiteY126" fmla="*/ 185547 h 371189"/>
              <a:gd name="connsiteX127" fmla="*/ 76867 w 339280"/>
              <a:gd name="connsiteY127" fmla="*/ 371189 h 371189"/>
              <a:gd name="connsiteX128" fmla="*/ 339281 w 339280"/>
              <a:gd name="connsiteY128" fmla="*/ 371189 h 371189"/>
              <a:gd name="connsiteX129" fmla="*/ 185547 w 339280"/>
              <a:gd name="connsiteY129" fmla="*/ 0 h 371189"/>
              <a:gd name="connsiteX130" fmla="*/ 185547 w 339280"/>
              <a:gd name="connsiteY130" fmla="*/ 0 h 371189"/>
              <a:gd name="connsiteX131" fmla="*/ 0 w 339280"/>
              <a:gd name="connsiteY131" fmla="*/ 185547 h 371189"/>
              <a:gd name="connsiteX132" fmla="*/ 76867 w 339280"/>
              <a:gd name="connsiteY132" fmla="*/ 371189 h 371189"/>
              <a:gd name="connsiteX133" fmla="*/ 339281 w 339280"/>
              <a:gd name="connsiteY133" fmla="*/ 371189 h 371189"/>
              <a:gd name="connsiteX134" fmla="*/ 185547 w 339280"/>
              <a:gd name="connsiteY134" fmla="*/ 0 h 371189"/>
              <a:gd name="connsiteX135" fmla="*/ 185547 w 339280"/>
              <a:gd name="connsiteY135" fmla="*/ 0 h 371189"/>
              <a:gd name="connsiteX136" fmla="*/ 0 w 339280"/>
              <a:gd name="connsiteY136" fmla="*/ 185547 h 371189"/>
              <a:gd name="connsiteX137" fmla="*/ 76867 w 339280"/>
              <a:gd name="connsiteY137" fmla="*/ 371189 h 371189"/>
              <a:gd name="connsiteX138" fmla="*/ 339281 w 339280"/>
              <a:gd name="connsiteY138" fmla="*/ 371189 h 371189"/>
              <a:gd name="connsiteX139" fmla="*/ 185547 w 339280"/>
              <a:gd name="connsiteY139" fmla="*/ 0 h 371189"/>
              <a:gd name="connsiteX140" fmla="*/ 185547 w 339280"/>
              <a:gd name="connsiteY140" fmla="*/ 0 h 371189"/>
              <a:gd name="connsiteX141" fmla="*/ 0 w 339280"/>
              <a:gd name="connsiteY141" fmla="*/ 185547 h 371189"/>
              <a:gd name="connsiteX142" fmla="*/ 76867 w 339280"/>
              <a:gd name="connsiteY142" fmla="*/ 371189 h 371189"/>
              <a:gd name="connsiteX143" fmla="*/ 339281 w 339280"/>
              <a:gd name="connsiteY143" fmla="*/ 371189 h 371189"/>
              <a:gd name="connsiteX144" fmla="*/ 185547 w 339280"/>
              <a:gd name="connsiteY144" fmla="*/ 0 h 371189"/>
              <a:gd name="connsiteX145" fmla="*/ 185547 w 339280"/>
              <a:gd name="connsiteY145" fmla="*/ 0 h 371189"/>
              <a:gd name="connsiteX146" fmla="*/ 0 w 339280"/>
              <a:gd name="connsiteY146" fmla="*/ 185547 h 371189"/>
              <a:gd name="connsiteX147" fmla="*/ 76867 w 339280"/>
              <a:gd name="connsiteY147" fmla="*/ 371189 h 371189"/>
              <a:gd name="connsiteX148" fmla="*/ 339281 w 339280"/>
              <a:gd name="connsiteY148" fmla="*/ 371189 h 371189"/>
              <a:gd name="connsiteX149" fmla="*/ 185547 w 339280"/>
              <a:gd name="connsiteY149" fmla="*/ 0 h 371189"/>
              <a:gd name="connsiteX150" fmla="*/ 185547 w 339280"/>
              <a:gd name="connsiteY150" fmla="*/ 0 h 371189"/>
              <a:gd name="connsiteX151" fmla="*/ 0 w 339280"/>
              <a:gd name="connsiteY151" fmla="*/ 185547 h 371189"/>
              <a:gd name="connsiteX152" fmla="*/ 76867 w 339280"/>
              <a:gd name="connsiteY152" fmla="*/ 371189 h 371189"/>
              <a:gd name="connsiteX153" fmla="*/ 339281 w 339280"/>
              <a:gd name="connsiteY153" fmla="*/ 371189 h 371189"/>
              <a:gd name="connsiteX154" fmla="*/ 185547 w 339280"/>
              <a:gd name="connsiteY154" fmla="*/ 0 h 371189"/>
              <a:gd name="connsiteX155" fmla="*/ 185547 w 339280"/>
              <a:gd name="connsiteY155" fmla="*/ 0 h 371189"/>
              <a:gd name="connsiteX156" fmla="*/ 0 w 339280"/>
              <a:gd name="connsiteY156" fmla="*/ 185547 h 371189"/>
              <a:gd name="connsiteX157" fmla="*/ 76867 w 339280"/>
              <a:gd name="connsiteY157" fmla="*/ 371189 h 371189"/>
              <a:gd name="connsiteX158" fmla="*/ 339281 w 339280"/>
              <a:gd name="connsiteY158" fmla="*/ 371189 h 371189"/>
              <a:gd name="connsiteX159" fmla="*/ 185547 w 339280"/>
              <a:gd name="connsiteY159" fmla="*/ 0 h 3711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</a:cxnLst>
            <a:rect l="l" t="t" r="r" b="b"/>
            <a:pathLst>
              <a:path w="339280" h="371189">
                <a:moveTo>
                  <a:pt x="185547" y="0"/>
                </a:moveTo>
                <a:lnTo>
                  <a:pt x="0" y="185547"/>
                </a:lnTo>
                <a:cubicBezTo>
                  <a:pt x="47435" y="233077"/>
                  <a:pt x="76867" y="298704"/>
                  <a:pt x="76867" y="371189"/>
                </a:cubicBezTo>
                <a:lnTo>
                  <a:pt x="339281" y="371189"/>
                </a:lnTo>
                <a:cubicBezTo>
                  <a:pt x="339281" y="226219"/>
                  <a:pt x="280511" y="94964"/>
                  <a:pt x="185547" y="0"/>
                </a:cubicBezTo>
                <a:close/>
                <a:moveTo>
                  <a:pt x="185547" y="0"/>
                </a:moveTo>
                <a:lnTo>
                  <a:pt x="0" y="185547"/>
                </a:lnTo>
                <a:cubicBezTo>
                  <a:pt x="47435" y="233077"/>
                  <a:pt x="76867" y="298704"/>
                  <a:pt x="76867" y="371189"/>
                </a:cubicBezTo>
                <a:lnTo>
                  <a:pt x="339281" y="371189"/>
                </a:lnTo>
                <a:cubicBezTo>
                  <a:pt x="339281" y="226219"/>
                  <a:pt x="280511" y="94964"/>
                  <a:pt x="185547" y="0"/>
                </a:cubicBezTo>
                <a:close/>
                <a:moveTo>
                  <a:pt x="185547" y="0"/>
                </a:moveTo>
                <a:lnTo>
                  <a:pt x="0" y="185547"/>
                </a:lnTo>
                <a:cubicBezTo>
                  <a:pt x="47435" y="233077"/>
                  <a:pt x="76867" y="298704"/>
                  <a:pt x="76867" y="371189"/>
                </a:cubicBezTo>
                <a:lnTo>
                  <a:pt x="339281" y="371189"/>
                </a:lnTo>
                <a:cubicBezTo>
                  <a:pt x="339281" y="226219"/>
                  <a:pt x="280511" y="94964"/>
                  <a:pt x="185547" y="0"/>
                </a:cubicBezTo>
                <a:close/>
                <a:moveTo>
                  <a:pt x="185547" y="0"/>
                </a:moveTo>
                <a:lnTo>
                  <a:pt x="0" y="185547"/>
                </a:lnTo>
                <a:cubicBezTo>
                  <a:pt x="47435" y="233077"/>
                  <a:pt x="76867" y="298704"/>
                  <a:pt x="76867" y="371189"/>
                </a:cubicBezTo>
                <a:lnTo>
                  <a:pt x="339281" y="371189"/>
                </a:lnTo>
                <a:cubicBezTo>
                  <a:pt x="339281" y="226219"/>
                  <a:pt x="280511" y="94964"/>
                  <a:pt x="185547" y="0"/>
                </a:cubicBezTo>
                <a:close/>
                <a:moveTo>
                  <a:pt x="185547" y="0"/>
                </a:moveTo>
                <a:lnTo>
                  <a:pt x="0" y="185547"/>
                </a:lnTo>
                <a:cubicBezTo>
                  <a:pt x="47435" y="233077"/>
                  <a:pt x="76867" y="298704"/>
                  <a:pt x="76867" y="371189"/>
                </a:cubicBezTo>
                <a:lnTo>
                  <a:pt x="339281" y="371189"/>
                </a:lnTo>
                <a:cubicBezTo>
                  <a:pt x="339281" y="226219"/>
                  <a:pt x="280511" y="94964"/>
                  <a:pt x="185547" y="0"/>
                </a:cubicBezTo>
                <a:close/>
                <a:moveTo>
                  <a:pt x="185547" y="0"/>
                </a:moveTo>
                <a:lnTo>
                  <a:pt x="0" y="185547"/>
                </a:lnTo>
                <a:cubicBezTo>
                  <a:pt x="47435" y="233077"/>
                  <a:pt x="76867" y="298704"/>
                  <a:pt x="76867" y="371189"/>
                </a:cubicBezTo>
                <a:lnTo>
                  <a:pt x="339281" y="371189"/>
                </a:lnTo>
                <a:cubicBezTo>
                  <a:pt x="339281" y="226219"/>
                  <a:pt x="280511" y="94964"/>
                  <a:pt x="185547" y="0"/>
                </a:cubicBezTo>
                <a:close/>
                <a:moveTo>
                  <a:pt x="185547" y="0"/>
                </a:moveTo>
                <a:lnTo>
                  <a:pt x="0" y="185547"/>
                </a:lnTo>
                <a:cubicBezTo>
                  <a:pt x="47435" y="233077"/>
                  <a:pt x="76867" y="298704"/>
                  <a:pt x="76867" y="371189"/>
                </a:cubicBezTo>
                <a:lnTo>
                  <a:pt x="339281" y="371189"/>
                </a:lnTo>
                <a:cubicBezTo>
                  <a:pt x="339281" y="226219"/>
                  <a:pt x="280511" y="94964"/>
                  <a:pt x="185547" y="0"/>
                </a:cubicBezTo>
                <a:close/>
                <a:moveTo>
                  <a:pt x="185547" y="0"/>
                </a:moveTo>
                <a:lnTo>
                  <a:pt x="0" y="185547"/>
                </a:lnTo>
                <a:cubicBezTo>
                  <a:pt x="47435" y="233077"/>
                  <a:pt x="76867" y="298704"/>
                  <a:pt x="76867" y="371189"/>
                </a:cubicBezTo>
                <a:lnTo>
                  <a:pt x="339281" y="371189"/>
                </a:lnTo>
                <a:cubicBezTo>
                  <a:pt x="339281" y="226219"/>
                  <a:pt x="280511" y="94964"/>
                  <a:pt x="185547" y="0"/>
                </a:cubicBezTo>
                <a:close/>
                <a:moveTo>
                  <a:pt x="185547" y="0"/>
                </a:moveTo>
                <a:lnTo>
                  <a:pt x="0" y="185547"/>
                </a:lnTo>
                <a:cubicBezTo>
                  <a:pt x="47435" y="233077"/>
                  <a:pt x="76867" y="298704"/>
                  <a:pt x="76867" y="371189"/>
                </a:cubicBezTo>
                <a:lnTo>
                  <a:pt x="339281" y="371189"/>
                </a:lnTo>
                <a:cubicBezTo>
                  <a:pt x="339281" y="226219"/>
                  <a:pt x="280511" y="94964"/>
                  <a:pt x="185547" y="0"/>
                </a:cubicBezTo>
                <a:close/>
                <a:moveTo>
                  <a:pt x="185547" y="0"/>
                </a:moveTo>
                <a:lnTo>
                  <a:pt x="0" y="185547"/>
                </a:lnTo>
                <a:cubicBezTo>
                  <a:pt x="47435" y="233077"/>
                  <a:pt x="76867" y="298704"/>
                  <a:pt x="76867" y="371189"/>
                </a:cubicBezTo>
                <a:lnTo>
                  <a:pt x="339281" y="371189"/>
                </a:lnTo>
                <a:cubicBezTo>
                  <a:pt x="339281" y="226219"/>
                  <a:pt x="280511" y="94964"/>
                  <a:pt x="185547" y="0"/>
                </a:cubicBezTo>
                <a:close/>
                <a:moveTo>
                  <a:pt x="185547" y="0"/>
                </a:moveTo>
                <a:lnTo>
                  <a:pt x="0" y="185547"/>
                </a:lnTo>
                <a:cubicBezTo>
                  <a:pt x="47435" y="233077"/>
                  <a:pt x="76867" y="298704"/>
                  <a:pt x="76867" y="371189"/>
                </a:cubicBezTo>
                <a:lnTo>
                  <a:pt x="339281" y="371189"/>
                </a:lnTo>
                <a:cubicBezTo>
                  <a:pt x="339281" y="226219"/>
                  <a:pt x="280511" y="94964"/>
                  <a:pt x="185547" y="0"/>
                </a:cubicBezTo>
                <a:close/>
                <a:moveTo>
                  <a:pt x="185547" y="0"/>
                </a:moveTo>
                <a:lnTo>
                  <a:pt x="0" y="185547"/>
                </a:lnTo>
                <a:cubicBezTo>
                  <a:pt x="47435" y="233077"/>
                  <a:pt x="76867" y="298704"/>
                  <a:pt x="76867" y="371189"/>
                </a:cubicBezTo>
                <a:lnTo>
                  <a:pt x="339281" y="371189"/>
                </a:lnTo>
                <a:cubicBezTo>
                  <a:pt x="339281" y="226219"/>
                  <a:pt x="280511" y="94964"/>
                  <a:pt x="185547" y="0"/>
                </a:cubicBezTo>
                <a:close/>
                <a:moveTo>
                  <a:pt x="185547" y="0"/>
                </a:moveTo>
                <a:lnTo>
                  <a:pt x="0" y="185547"/>
                </a:lnTo>
                <a:cubicBezTo>
                  <a:pt x="47435" y="233077"/>
                  <a:pt x="76867" y="298704"/>
                  <a:pt x="76867" y="371189"/>
                </a:cubicBezTo>
                <a:lnTo>
                  <a:pt x="339281" y="371189"/>
                </a:lnTo>
                <a:cubicBezTo>
                  <a:pt x="339281" y="226219"/>
                  <a:pt x="280511" y="94964"/>
                  <a:pt x="185547" y="0"/>
                </a:cubicBezTo>
                <a:close/>
                <a:moveTo>
                  <a:pt x="185547" y="0"/>
                </a:moveTo>
                <a:lnTo>
                  <a:pt x="0" y="185547"/>
                </a:lnTo>
                <a:cubicBezTo>
                  <a:pt x="47435" y="233077"/>
                  <a:pt x="76867" y="298704"/>
                  <a:pt x="76867" y="371189"/>
                </a:cubicBezTo>
                <a:lnTo>
                  <a:pt x="339281" y="371189"/>
                </a:lnTo>
                <a:cubicBezTo>
                  <a:pt x="339281" y="226219"/>
                  <a:pt x="280511" y="94964"/>
                  <a:pt x="185547" y="0"/>
                </a:cubicBezTo>
                <a:close/>
                <a:moveTo>
                  <a:pt x="185547" y="0"/>
                </a:moveTo>
                <a:lnTo>
                  <a:pt x="0" y="185547"/>
                </a:lnTo>
                <a:cubicBezTo>
                  <a:pt x="47435" y="233077"/>
                  <a:pt x="76867" y="298704"/>
                  <a:pt x="76867" y="371189"/>
                </a:cubicBezTo>
                <a:lnTo>
                  <a:pt x="339281" y="371189"/>
                </a:lnTo>
                <a:cubicBezTo>
                  <a:pt x="339281" y="226219"/>
                  <a:pt x="280511" y="94964"/>
                  <a:pt x="185547" y="0"/>
                </a:cubicBezTo>
                <a:close/>
                <a:moveTo>
                  <a:pt x="185547" y="0"/>
                </a:moveTo>
                <a:lnTo>
                  <a:pt x="0" y="185547"/>
                </a:lnTo>
                <a:cubicBezTo>
                  <a:pt x="47435" y="233077"/>
                  <a:pt x="76867" y="298704"/>
                  <a:pt x="76867" y="371189"/>
                </a:cubicBezTo>
                <a:lnTo>
                  <a:pt x="339281" y="371189"/>
                </a:lnTo>
                <a:cubicBezTo>
                  <a:pt x="339281" y="226219"/>
                  <a:pt x="280511" y="94964"/>
                  <a:pt x="185547" y="0"/>
                </a:cubicBezTo>
                <a:close/>
                <a:moveTo>
                  <a:pt x="185547" y="0"/>
                </a:moveTo>
                <a:lnTo>
                  <a:pt x="0" y="185547"/>
                </a:lnTo>
                <a:cubicBezTo>
                  <a:pt x="47435" y="233077"/>
                  <a:pt x="76867" y="298704"/>
                  <a:pt x="76867" y="371189"/>
                </a:cubicBezTo>
                <a:lnTo>
                  <a:pt x="339281" y="371189"/>
                </a:lnTo>
                <a:cubicBezTo>
                  <a:pt x="339281" y="226219"/>
                  <a:pt x="280511" y="94964"/>
                  <a:pt x="185547" y="0"/>
                </a:cubicBezTo>
                <a:close/>
                <a:moveTo>
                  <a:pt x="185547" y="0"/>
                </a:moveTo>
                <a:lnTo>
                  <a:pt x="0" y="185547"/>
                </a:lnTo>
                <a:cubicBezTo>
                  <a:pt x="47435" y="233077"/>
                  <a:pt x="76867" y="298704"/>
                  <a:pt x="76867" y="371189"/>
                </a:cubicBezTo>
                <a:lnTo>
                  <a:pt x="339281" y="371189"/>
                </a:lnTo>
                <a:cubicBezTo>
                  <a:pt x="339281" y="226219"/>
                  <a:pt x="280511" y="94964"/>
                  <a:pt x="185547" y="0"/>
                </a:cubicBezTo>
                <a:close/>
                <a:moveTo>
                  <a:pt x="185547" y="0"/>
                </a:moveTo>
                <a:lnTo>
                  <a:pt x="0" y="185547"/>
                </a:lnTo>
                <a:cubicBezTo>
                  <a:pt x="47435" y="233077"/>
                  <a:pt x="76867" y="298704"/>
                  <a:pt x="76867" y="371189"/>
                </a:cubicBezTo>
                <a:lnTo>
                  <a:pt x="339281" y="371189"/>
                </a:lnTo>
                <a:cubicBezTo>
                  <a:pt x="339281" y="226219"/>
                  <a:pt x="280511" y="94964"/>
                  <a:pt x="185547" y="0"/>
                </a:cubicBezTo>
                <a:close/>
                <a:moveTo>
                  <a:pt x="185547" y="0"/>
                </a:moveTo>
                <a:lnTo>
                  <a:pt x="0" y="185547"/>
                </a:lnTo>
                <a:cubicBezTo>
                  <a:pt x="47435" y="233077"/>
                  <a:pt x="76867" y="298704"/>
                  <a:pt x="76867" y="371189"/>
                </a:cubicBezTo>
                <a:lnTo>
                  <a:pt x="339281" y="371189"/>
                </a:lnTo>
                <a:cubicBezTo>
                  <a:pt x="339281" y="226219"/>
                  <a:pt x="280511" y="94964"/>
                  <a:pt x="185547" y="0"/>
                </a:cubicBezTo>
                <a:close/>
                <a:moveTo>
                  <a:pt x="185547" y="0"/>
                </a:moveTo>
                <a:lnTo>
                  <a:pt x="0" y="185547"/>
                </a:lnTo>
                <a:cubicBezTo>
                  <a:pt x="47435" y="233077"/>
                  <a:pt x="76867" y="298704"/>
                  <a:pt x="76867" y="371189"/>
                </a:cubicBezTo>
                <a:lnTo>
                  <a:pt x="339281" y="371189"/>
                </a:lnTo>
                <a:cubicBezTo>
                  <a:pt x="339281" y="226219"/>
                  <a:pt x="280511" y="94964"/>
                  <a:pt x="185547" y="0"/>
                </a:cubicBezTo>
                <a:close/>
                <a:moveTo>
                  <a:pt x="185547" y="0"/>
                </a:moveTo>
                <a:lnTo>
                  <a:pt x="0" y="185547"/>
                </a:lnTo>
                <a:cubicBezTo>
                  <a:pt x="47435" y="233077"/>
                  <a:pt x="76867" y="298704"/>
                  <a:pt x="76867" y="371189"/>
                </a:cubicBezTo>
                <a:lnTo>
                  <a:pt x="339281" y="371189"/>
                </a:lnTo>
                <a:cubicBezTo>
                  <a:pt x="339281" y="226219"/>
                  <a:pt x="280511" y="94964"/>
                  <a:pt x="185547" y="0"/>
                </a:cubicBezTo>
                <a:close/>
                <a:moveTo>
                  <a:pt x="185547" y="0"/>
                </a:moveTo>
                <a:lnTo>
                  <a:pt x="0" y="185547"/>
                </a:lnTo>
                <a:cubicBezTo>
                  <a:pt x="47435" y="233077"/>
                  <a:pt x="76867" y="298704"/>
                  <a:pt x="76867" y="371189"/>
                </a:cubicBezTo>
                <a:lnTo>
                  <a:pt x="339281" y="371189"/>
                </a:lnTo>
                <a:cubicBezTo>
                  <a:pt x="339281" y="226219"/>
                  <a:pt x="280511" y="94964"/>
                  <a:pt x="185547" y="0"/>
                </a:cubicBezTo>
                <a:close/>
                <a:moveTo>
                  <a:pt x="185547" y="0"/>
                </a:moveTo>
                <a:lnTo>
                  <a:pt x="0" y="185547"/>
                </a:lnTo>
                <a:cubicBezTo>
                  <a:pt x="47435" y="233077"/>
                  <a:pt x="76867" y="298704"/>
                  <a:pt x="76867" y="371189"/>
                </a:cubicBezTo>
                <a:lnTo>
                  <a:pt x="339281" y="371189"/>
                </a:lnTo>
                <a:cubicBezTo>
                  <a:pt x="339281" y="226219"/>
                  <a:pt x="280511" y="94964"/>
                  <a:pt x="185547" y="0"/>
                </a:cubicBezTo>
                <a:close/>
                <a:moveTo>
                  <a:pt x="185547" y="0"/>
                </a:moveTo>
                <a:lnTo>
                  <a:pt x="0" y="185547"/>
                </a:lnTo>
                <a:cubicBezTo>
                  <a:pt x="47435" y="233077"/>
                  <a:pt x="76867" y="298704"/>
                  <a:pt x="76867" y="371189"/>
                </a:cubicBezTo>
                <a:lnTo>
                  <a:pt x="339281" y="371189"/>
                </a:lnTo>
                <a:cubicBezTo>
                  <a:pt x="339281" y="226219"/>
                  <a:pt x="280511" y="94964"/>
                  <a:pt x="185547" y="0"/>
                </a:cubicBezTo>
                <a:close/>
                <a:moveTo>
                  <a:pt x="185547" y="0"/>
                </a:moveTo>
                <a:lnTo>
                  <a:pt x="0" y="185547"/>
                </a:lnTo>
                <a:cubicBezTo>
                  <a:pt x="47435" y="233077"/>
                  <a:pt x="76867" y="298704"/>
                  <a:pt x="76867" y="371189"/>
                </a:cubicBezTo>
                <a:lnTo>
                  <a:pt x="339281" y="371189"/>
                </a:lnTo>
                <a:cubicBezTo>
                  <a:pt x="339281" y="226219"/>
                  <a:pt x="280511" y="94964"/>
                  <a:pt x="185547" y="0"/>
                </a:cubicBezTo>
                <a:close/>
                <a:moveTo>
                  <a:pt x="185547" y="0"/>
                </a:moveTo>
                <a:lnTo>
                  <a:pt x="0" y="185547"/>
                </a:lnTo>
                <a:cubicBezTo>
                  <a:pt x="47435" y="233077"/>
                  <a:pt x="76867" y="298704"/>
                  <a:pt x="76867" y="371189"/>
                </a:cubicBezTo>
                <a:lnTo>
                  <a:pt x="339281" y="371189"/>
                </a:lnTo>
                <a:cubicBezTo>
                  <a:pt x="339281" y="226219"/>
                  <a:pt x="280511" y="94964"/>
                  <a:pt x="185547" y="0"/>
                </a:cubicBezTo>
                <a:close/>
                <a:moveTo>
                  <a:pt x="185547" y="0"/>
                </a:moveTo>
                <a:lnTo>
                  <a:pt x="0" y="185547"/>
                </a:lnTo>
                <a:cubicBezTo>
                  <a:pt x="47435" y="233077"/>
                  <a:pt x="76867" y="298704"/>
                  <a:pt x="76867" y="371189"/>
                </a:cubicBezTo>
                <a:lnTo>
                  <a:pt x="339281" y="371189"/>
                </a:lnTo>
                <a:cubicBezTo>
                  <a:pt x="339281" y="226219"/>
                  <a:pt x="280511" y="94964"/>
                  <a:pt x="185547" y="0"/>
                </a:cubicBezTo>
                <a:close/>
                <a:moveTo>
                  <a:pt x="185547" y="0"/>
                </a:moveTo>
                <a:lnTo>
                  <a:pt x="0" y="185547"/>
                </a:lnTo>
                <a:cubicBezTo>
                  <a:pt x="47435" y="233077"/>
                  <a:pt x="76867" y="298704"/>
                  <a:pt x="76867" y="371189"/>
                </a:cubicBezTo>
                <a:lnTo>
                  <a:pt x="339281" y="371189"/>
                </a:lnTo>
                <a:cubicBezTo>
                  <a:pt x="339281" y="226219"/>
                  <a:pt x="280511" y="94964"/>
                  <a:pt x="185547" y="0"/>
                </a:cubicBezTo>
                <a:close/>
                <a:moveTo>
                  <a:pt x="185547" y="0"/>
                </a:moveTo>
                <a:lnTo>
                  <a:pt x="0" y="185547"/>
                </a:lnTo>
                <a:cubicBezTo>
                  <a:pt x="47435" y="233077"/>
                  <a:pt x="76867" y="298704"/>
                  <a:pt x="76867" y="371189"/>
                </a:cubicBezTo>
                <a:lnTo>
                  <a:pt x="339281" y="371189"/>
                </a:lnTo>
                <a:cubicBezTo>
                  <a:pt x="339281" y="226219"/>
                  <a:pt x="280511" y="94964"/>
                  <a:pt x="185547" y="0"/>
                </a:cubicBezTo>
                <a:close/>
                <a:moveTo>
                  <a:pt x="185547" y="0"/>
                </a:moveTo>
                <a:lnTo>
                  <a:pt x="0" y="185547"/>
                </a:lnTo>
                <a:cubicBezTo>
                  <a:pt x="47435" y="233077"/>
                  <a:pt x="76867" y="298704"/>
                  <a:pt x="76867" y="371189"/>
                </a:cubicBezTo>
                <a:lnTo>
                  <a:pt x="339281" y="371189"/>
                </a:lnTo>
                <a:cubicBezTo>
                  <a:pt x="339281" y="226219"/>
                  <a:pt x="280511" y="94964"/>
                  <a:pt x="185547" y="0"/>
                </a:cubicBezTo>
                <a:close/>
                <a:moveTo>
                  <a:pt x="185547" y="0"/>
                </a:moveTo>
                <a:lnTo>
                  <a:pt x="0" y="185547"/>
                </a:lnTo>
                <a:cubicBezTo>
                  <a:pt x="47435" y="233077"/>
                  <a:pt x="76867" y="298704"/>
                  <a:pt x="76867" y="371189"/>
                </a:cubicBezTo>
                <a:lnTo>
                  <a:pt x="339281" y="371189"/>
                </a:lnTo>
                <a:cubicBezTo>
                  <a:pt x="339281" y="226219"/>
                  <a:pt x="280511" y="94964"/>
                  <a:pt x="185547" y="0"/>
                </a:cubicBezTo>
                <a:close/>
              </a:path>
            </a:pathLst>
          </a:custGeom>
          <a:solidFill>
            <a:schemeClr val="bg1"/>
          </a:solidFill>
          <a:ln w="6350" cap="flat">
            <a:solidFill>
              <a:schemeClr val="accent5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7" name="Freihandform: Form 95">
            <a:extLst>
              <a:ext uri="{FF2B5EF4-FFF2-40B4-BE49-F238E27FC236}">
                <a16:creationId xmlns:a16="http://schemas.microsoft.com/office/drawing/2014/main" id="{BC4FD6D9-28F6-847C-9200-0F23F5B8A485}"/>
              </a:ext>
            </a:extLst>
          </p:cNvPr>
          <p:cNvSpPr>
            <a:spLocks/>
          </p:cNvSpPr>
          <p:nvPr/>
        </p:nvSpPr>
        <p:spPr>
          <a:xfrm>
            <a:off x="1534953" y="1994228"/>
            <a:ext cx="1260713" cy="773192"/>
          </a:xfrm>
          <a:custGeom>
            <a:avLst/>
            <a:gdLst>
              <a:gd name="connsiteX0" fmla="*/ 927926 w 927925"/>
              <a:gd name="connsiteY0" fmla="*/ 0 h 568928"/>
              <a:gd name="connsiteX1" fmla="*/ 927926 w 927925"/>
              <a:gd name="connsiteY1" fmla="*/ 260985 h 568928"/>
              <a:gd name="connsiteX2" fmla="*/ 184595 w 927925"/>
              <a:gd name="connsiteY2" fmla="*/ 568928 h 568928"/>
              <a:gd name="connsiteX3" fmla="*/ 0 w 927925"/>
              <a:gd name="connsiteY3" fmla="*/ 384334 h 568928"/>
              <a:gd name="connsiteX4" fmla="*/ 927926 w 927925"/>
              <a:gd name="connsiteY4" fmla="*/ 0 h 5689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27925" h="568928">
                <a:moveTo>
                  <a:pt x="927926" y="0"/>
                </a:moveTo>
                <a:lnTo>
                  <a:pt x="927926" y="260985"/>
                </a:lnTo>
                <a:cubicBezTo>
                  <a:pt x="637699" y="260985"/>
                  <a:pt x="374809" y="378619"/>
                  <a:pt x="184595" y="568928"/>
                </a:cubicBezTo>
                <a:lnTo>
                  <a:pt x="0" y="384334"/>
                </a:lnTo>
                <a:cubicBezTo>
                  <a:pt x="237458" y="146876"/>
                  <a:pt x="565499" y="0"/>
                  <a:pt x="927926" y="0"/>
                </a:cubicBezTo>
                <a:close/>
              </a:path>
            </a:pathLst>
          </a:custGeom>
          <a:solidFill>
            <a:schemeClr val="bg1"/>
          </a:solidFill>
          <a:ln w="6350" cap="flat">
            <a:solidFill>
              <a:schemeClr val="accent5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8" name="Freihandform: Form 96">
            <a:extLst>
              <a:ext uri="{FF2B5EF4-FFF2-40B4-BE49-F238E27FC236}">
                <a16:creationId xmlns:a16="http://schemas.microsoft.com/office/drawing/2014/main" id="{0179B24C-F7E5-35BA-556F-2BB1ABF8D5E2}"/>
              </a:ext>
            </a:extLst>
          </p:cNvPr>
          <p:cNvSpPr>
            <a:spLocks/>
          </p:cNvSpPr>
          <p:nvPr/>
        </p:nvSpPr>
        <p:spPr>
          <a:xfrm>
            <a:off x="1012781" y="2516551"/>
            <a:ext cx="772967" cy="1261210"/>
          </a:xfrm>
          <a:custGeom>
            <a:avLst/>
            <a:gdLst>
              <a:gd name="connsiteX0" fmla="*/ 568928 w 568928"/>
              <a:gd name="connsiteY0" fmla="*/ 184595 h 928020"/>
              <a:gd name="connsiteX1" fmla="*/ 260985 w 568928"/>
              <a:gd name="connsiteY1" fmla="*/ 928021 h 928020"/>
              <a:gd name="connsiteX2" fmla="*/ 0 w 568928"/>
              <a:gd name="connsiteY2" fmla="*/ 928021 h 928020"/>
              <a:gd name="connsiteX3" fmla="*/ 384334 w 568928"/>
              <a:gd name="connsiteY3" fmla="*/ 0 h 928020"/>
              <a:gd name="connsiteX4" fmla="*/ 568928 w 568928"/>
              <a:gd name="connsiteY4" fmla="*/ 184595 h 928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8928" h="928020">
                <a:moveTo>
                  <a:pt x="568928" y="184595"/>
                </a:moveTo>
                <a:cubicBezTo>
                  <a:pt x="378714" y="374904"/>
                  <a:pt x="260985" y="637699"/>
                  <a:pt x="260985" y="928021"/>
                </a:cubicBezTo>
                <a:lnTo>
                  <a:pt x="0" y="928021"/>
                </a:lnTo>
                <a:cubicBezTo>
                  <a:pt x="0" y="565595"/>
                  <a:pt x="146876" y="237554"/>
                  <a:pt x="384334" y="0"/>
                </a:cubicBezTo>
                <a:lnTo>
                  <a:pt x="568928" y="184595"/>
                </a:lnTo>
                <a:close/>
              </a:path>
            </a:pathLst>
          </a:custGeom>
          <a:solidFill>
            <a:schemeClr val="bg1"/>
          </a:solidFill>
          <a:ln w="6350" cap="flat">
            <a:solidFill>
              <a:schemeClr val="accent5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9" name="Freihandform: Form 97">
            <a:extLst>
              <a:ext uri="{FF2B5EF4-FFF2-40B4-BE49-F238E27FC236}">
                <a16:creationId xmlns:a16="http://schemas.microsoft.com/office/drawing/2014/main" id="{07202011-9B1F-0110-A79F-296BA2766DD6}"/>
              </a:ext>
            </a:extLst>
          </p:cNvPr>
          <p:cNvSpPr>
            <a:spLocks/>
          </p:cNvSpPr>
          <p:nvPr/>
        </p:nvSpPr>
        <p:spPr>
          <a:xfrm>
            <a:off x="1012781" y="3777761"/>
            <a:ext cx="772967" cy="1261081"/>
          </a:xfrm>
          <a:custGeom>
            <a:avLst/>
            <a:gdLst>
              <a:gd name="connsiteX0" fmla="*/ 568928 w 568928"/>
              <a:gd name="connsiteY0" fmla="*/ 743331 h 927925"/>
              <a:gd name="connsiteX1" fmla="*/ 384334 w 568928"/>
              <a:gd name="connsiteY1" fmla="*/ 927926 h 927925"/>
              <a:gd name="connsiteX2" fmla="*/ 0 w 568928"/>
              <a:gd name="connsiteY2" fmla="*/ 0 h 927925"/>
              <a:gd name="connsiteX3" fmla="*/ 260985 w 568928"/>
              <a:gd name="connsiteY3" fmla="*/ 0 h 927925"/>
              <a:gd name="connsiteX4" fmla="*/ 568928 w 568928"/>
              <a:gd name="connsiteY4" fmla="*/ 743331 h 927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8928" h="927925">
                <a:moveTo>
                  <a:pt x="568928" y="743331"/>
                </a:moveTo>
                <a:lnTo>
                  <a:pt x="384334" y="927926"/>
                </a:lnTo>
                <a:cubicBezTo>
                  <a:pt x="146876" y="690467"/>
                  <a:pt x="0" y="362426"/>
                  <a:pt x="0" y="0"/>
                </a:cubicBezTo>
                <a:lnTo>
                  <a:pt x="260985" y="0"/>
                </a:lnTo>
                <a:cubicBezTo>
                  <a:pt x="260985" y="290227"/>
                  <a:pt x="378714" y="553117"/>
                  <a:pt x="568928" y="743331"/>
                </a:cubicBezTo>
                <a:close/>
              </a:path>
            </a:pathLst>
          </a:custGeom>
          <a:solidFill>
            <a:schemeClr val="bg1"/>
          </a:solidFill>
          <a:ln w="6350" cap="flat">
            <a:solidFill>
              <a:schemeClr val="accent5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0" name="Freihandform: Form 98">
            <a:extLst>
              <a:ext uri="{FF2B5EF4-FFF2-40B4-BE49-F238E27FC236}">
                <a16:creationId xmlns:a16="http://schemas.microsoft.com/office/drawing/2014/main" id="{926F8BBE-A7AB-867A-8C56-E3DDD13FEBE4}"/>
              </a:ext>
            </a:extLst>
          </p:cNvPr>
          <p:cNvSpPr>
            <a:spLocks/>
          </p:cNvSpPr>
          <p:nvPr/>
        </p:nvSpPr>
        <p:spPr>
          <a:xfrm>
            <a:off x="1534953" y="4787974"/>
            <a:ext cx="1260713" cy="773192"/>
          </a:xfrm>
          <a:custGeom>
            <a:avLst/>
            <a:gdLst>
              <a:gd name="connsiteX0" fmla="*/ 927926 w 927925"/>
              <a:gd name="connsiteY0" fmla="*/ 307943 h 568928"/>
              <a:gd name="connsiteX1" fmla="*/ 927926 w 927925"/>
              <a:gd name="connsiteY1" fmla="*/ 568928 h 568928"/>
              <a:gd name="connsiteX2" fmla="*/ 0 w 927925"/>
              <a:gd name="connsiteY2" fmla="*/ 184594 h 568928"/>
              <a:gd name="connsiteX3" fmla="*/ 184595 w 927925"/>
              <a:gd name="connsiteY3" fmla="*/ 0 h 568928"/>
              <a:gd name="connsiteX4" fmla="*/ 927926 w 927925"/>
              <a:gd name="connsiteY4" fmla="*/ 307943 h 5689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27925" h="568928">
                <a:moveTo>
                  <a:pt x="927926" y="307943"/>
                </a:moveTo>
                <a:lnTo>
                  <a:pt x="927926" y="568928"/>
                </a:lnTo>
                <a:cubicBezTo>
                  <a:pt x="565499" y="568928"/>
                  <a:pt x="237458" y="422053"/>
                  <a:pt x="0" y="184594"/>
                </a:cubicBezTo>
                <a:lnTo>
                  <a:pt x="184595" y="0"/>
                </a:lnTo>
                <a:cubicBezTo>
                  <a:pt x="374809" y="190214"/>
                  <a:pt x="637699" y="307943"/>
                  <a:pt x="927926" y="307943"/>
                </a:cubicBezTo>
                <a:close/>
              </a:path>
            </a:pathLst>
          </a:custGeom>
          <a:solidFill>
            <a:schemeClr val="bg1"/>
          </a:solidFill>
          <a:ln w="6350" cap="flat">
            <a:solidFill>
              <a:schemeClr val="accent5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1" name="Freihandform: Form 99">
            <a:extLst>
              <a:ext uri="{FF2B5EF4-FFF2-40B4-BE49-F238E27FC236}">
                <a16:creationId xmlns:a16="http://schemas.microsoft.com/office/drawing/2014/main" id="{3C996206-6F3C-98BF-72A7-28B1DA516ABE}"/>
              </a:ext>
            </a:extLst>
          </p:cNvPr>
          <p:cNvSpPr>
            <a:spLocks/>
          </p:cNvSpPr>
          <p:nvPr/>
        </p:nvSpPr>
        <p:spPr>
          <a:xfrm>
            <a:off x="2795666" y="4787974"/>
            <a:ext cx="1260843" cy="773192"/>
          </a:xfrm>
          <a:custGeom>
            <a:avLst/>
            <a:gdLst>
              <a:gd name="connsiteX0" fmla="*/ 928021 w 928020"/>
              <a:gd name="connsiteY0" fmla="*/ 184594 h 568928"/>
              <a:gd name="connsiteX1" fmla="*/ 0 w 928020"/>
              <a:gd name="connsiteY1" fmla="*/ 568928 h 568928"/>
              <a:gd name="connsiteX2" fmla="*/ 0 w 928020"/>
              <a:gd name="connsiteY2" fmla="*/ 307943 h 568928"/>
              <a:gd name="connsiteX3" fmla="*/ 743426 w 928020"/>
              <a:gd name="connsiteY3" fmla="*/ 0 h 568928"/>
              <a:gd name="connsiteX4" fmla="*/ 928021 w 928020"/>
              <a:gd name="connsiteY4" fmla="*/ 184594 h 5689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28020" h="568928">
                <a:moveTo>
                  <a:pt x="928021" y="184594"/>
                </a:moveTo>
                <a:cubicBezTo>
                  <a:pt x="690467" y="422053"/>
                  <a:pt x="362426" y="568928"/>
                  <a:pt x="0" y="568928"/>
                </a:cubicBezTo>
                <a:lnTo>
                  <a:pt x="0" y="307943"/>
                </a:lnTo>
                <a:cubicBezTo>
                  <a:pt x="290322" y="307943"/>
                  <a:pt x="553117" y="190214"/>
                  <a:pt x="743426" y="0"/>
                </a:cubicBezTo>
                <a:lnTo>
                  <a:pt x="928021" y="184594"/>
                </a:lnTo>
                <a:close/>
              </a:path>
            </a:pathLst>
          </a:custGeom>
          <a:solidFill>
            <a:schemeClr val="bg1"/>
          </a:solidFill>
          <a:ln w="6350" cap="flat">
            <a:solidFill>
              <a:schemeClr val="accent5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2" name="Freihandform: Form 100">
            <a:extLst>
              <a:ext uri="{FF2B5EF4-FFF2-40B4-BE49-F238E27FC236}">
                <a16:creationId xmlns:a16="http://schemas.microsoft.com/office/drawing/2014/main" id="{559E6943-6433-5D44-2612-45D96D8CE601}"/>
              </a:ext>
            </a:extLst>
          </p:cNvPr>
          <p:cNvSpPr>
            <a:spLocks/>
          </p:cNvSpPr>
          <p:nvPr/>
        </p:nvSpPr>
        <p:spPr>
          <a:xfrm>
            <a:off x="3805713" y="3777761"/>
            <a:ext cx="772967" cy="1261081"/>
          </a:xfrm>
          <a:custGeom>
            <a:avLst/>
            <a:gdLst>
              <a:gd name="connsiteX0" fmla="*/ 568928 w 568928"/>
              <a:gd name="connsiteY0" fmla="*/ 0 h 927925"/>
              <a:gd name="connsiteX1" fmla="*/ 184594 w 568928"/>
              <a:gd name="connsiteY1" fmla="*/ 927926 h 927925"/>
              <a:gd name="connsiteX2" fmla="*/ 0 w 568928"/>
              <a:gd name="connsiteY2" fmla="*/ 743331 h 927925"/>
              <a:gd name="connsiteX3" fmla="*/ 307848 w 568928"/>
              <a:gd name="connsiteY3" fmla="*/ 0 h 927925"/>
              <a:gd name="connsiteX4" fmla="*/ 568928 w 568928"/>
              <a:gd name="connsiteY4" fmla="*/ 0 h 927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8928" h="927925">
                <a:moveTo>
                  <a:pt x="568928" y="0"/>
                </a:moveTo>
                <a:cubicBezTo>
                  <a:pt x="568928" y="362426"/>
                  <a:pt x="422053" y="690467"/>
                  <a:pt x="184594" y="927926"/>
                </a:cubicBezTo>
                <a:lnTo>
                  <a:pt x="0" y="743331"/>
                </a:lnTo>
                <a:cubicBezTo>
                  <a:pt x="190214" y="553117"/>
                  <a:pt x="307848" y="290227"/>
                  <a:pt x="307848" y="0"/>
                </a:cubicBezTo>
                <a:lnTo>
                  <a:pt x="568928" y="0"/>
                </a:lnTo>
                <a:close/>
              </a:path>
            </a:pathLst>
          </a:custGeom>
          <a:solidFill>
            <a:schemeClr val="bg1"/>
          </a:solidFill>
          <a:ln w="6350" cap="flat">
            <a:solidFill>
              <a:schemeClr val="accent5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3" name="Freihandform: Form 101">
            <a:extLst>
              <a:ext uri="{FF2B5EF4-FFF2-40B4-BE49-F238E27FC236}">
                <a16:creationId xmlns:a16="http://schemas.microsoft.com/office/drawing/2014/main" id="{53D7E559-5695-4EE2-8B15-E60D0F000EF7}"/>
              </a:ext>
            </a:extLst>
          </p:cNvPr>
          <p:cNvSpPr>
            <a:spLocks/>
          </p:cNvSpPr>
          <p:nvPr/>
        </p:nvSpPr>
        <p:spPr>
          <a:xfrm>
            <a:off x="3805713" y="2516551"/>
            <a:ext cx="772967" cy="1261210"/>
          </a:xfrm>
          <a:custGeom>
            <a:avLst/>
            <a:gdLst>
              <a:gd name="connsiteX0" fmla="*/ 568928 w 568928"/>
              <a:gd name="connsiteY0" fmla="*/ 928021 h 928020"/>
              <a:gd name="connsiteX1" fmla="*/ 307848 w 568928"/>
              <a:gd name="connsiteY1" fmla="*/ 928021 h 928020"/>
              <a:gd name="connsiteX2" fmla="*/ 0 w 568928"/>
              <a:gd name="connsiteY2" fmla="*/ 184595 h 928020"/>
              <a:gd name="connsiteX3" fmla="*/ 184594 w 568928"/>
              <a:gd name="connsiteY3" fmla="*/ 0 h 928020"/>
              <a:gd name="connsiteX4" fmla="*/ 568928 w 568928"/>
              <a:gd name="connsiteY4" fmla="*/ 928021 h 928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8928" h="928020">
                <a:moveTo>
                  <a:pt x="568928" y="928021"/>
                </a:moveTo>
                <a:lnTo>
                  <a:pt x="307848" y="928021"/>
                </a:lnTo>
                <a:cubicBezTo>
                  <a:pt x="307848" y="637699"/>
                  <a:pt x="190214" y="374904"/>
                  <a:pt x="0" y="184595"/>
                </a:cubicBezTo>
                <a:lnTo>
                  <a:pt x="184594" y="0"/>
                </a:lnTo>
                <a:cubicBezTo>
                  <a:pt x="422053" y="237554"/>
                  <a:pt x="568928" y="565595"/>
                  <a:pt x="568928" y="928021"/>
                </a:cubicBezTo>
                <a:close/>
              </a:path>
            </a:pathLst>
          </a:custGeom>
          <a:solidFill>
            <a:schemeClr val="bg1"/>
          </a:solidFill>
          <a:ln w="6350" cap="flat">
            <a:solidFill>
              <a:schemeClr val="accent5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4" name="Freihandform: Form 102">
            <a:extLst>
              <a:ext uri="{FF2B5EF4-FFF2-40B4-BE49-F238E27FC236}">
                <a16:creationId xmlns:a16="http://schemas.microsoft.com/office/drawing/2014/main" id="{9BE1754B-240D-49CF-B820-EADD5A8DCF50}"/>
              </a:ext>
            </a:extLst>
          </p:cNvPr>
          <p:cNvSpPr>
            <a:spLocks/>
          </p:cNvSpPr>
          <p:nvPr/>
        </p:nvSpPr>
        <p:spPr>
          <a:xfrm>
            <a:off x="2795666" y="1994228"/>
            <a:ext cx="1260843" cy="773192"/>
          </a:xfrm>
          <a:custGeom>
            <a:avLst/>
            <a:gdLst>
              <a:gd name="connsiteX0" fmla="*/ 928021 w 928020"/>
              <a:gd name="connsiteY0" fmla="*/ 384334 h 568928"/>
              <a:gd name="connsiteX1" fmla="*/ 743426 w 928020"/>
              <a:gd name="connsiteY1" fmla="*/ 568928 h 568928"/>
              <a:gd name="connsiteX2" fmla="*/ 0 w 928020"/>
              <a:gd name="connsiteY2" fmla="*/ 260985 h 568928"/>
              <a:gd name="connsiteX3" fmla="*/ 0 w 928020"/>
              <a:gd name="connsiteY3" fmla="*/ 0 h 568928"/>
              <a:gd name="connsiteX4" fmla="*/ 928021 w 928020"/>
              <a:gd name="connsiteY4" fmla="*/ 384334 h 5689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28020" h="568928">
                <a:moveTo>
                  <a:pt x="928021" y="384334"/>
                </a:moveTo>
                <a:lnTo>
                  <a:pt x="743426" y="568928"/>
                </a:lnTo>
                <a:cubicBezTo>
                  <a:pt x="553117" y="378619"/>
                  <a:pt x="290322" y="260985"/>
                  <a:pt x="0" y="260985"/>
                </a:cubicBezTo>
                <a:lnTo>
                  <a:pt x="0" y="0"/>
                </a:lnTo>
                <a:cubicBezTo>
                  <a:pt x="362426" y="0"/>
                  <a:pt x="690467" y="146876"/>
                  <a:pt x="928021" y="384334"/>
                </a:cubicBezTo>
                <a:close/>
              </a:path>
            </a:pathLst>
          </a:custGeom>
          <a:solidFill>
            <a:schemeClr val="bg1"/>
          </a:solidFill>
          <a:ln w="6350" cap="flat">
            <a:solidFill>
              <a:schemeClr val="accent5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5" name="Freihandform: Form 103">
            <a:extLst>
              <a:ext uri="{FF2B5EF4-FFF2-40B4-BE49-F238E27FC236}">
                <a16:creationId xmlns:a16="http://schemas.microsoft.com/office/drawing/2014/main" id="{F53E0BAC-73A3-E7F3-3752-C09D5219F764}"/>
              </a:ext>
            </a:extLst>
          </p:cNvPr>
          <p:cNvSpPr>
            <a:spLocks/>
          </p:cNvSpPr>
          <p:nvPr/>
        </p:nvSpPr>
        <p:spPr>
          <a:xfrm>
            <a:off x="1785749" y="2348916"/>
            <a:ext cx="1009917" cy="672094"/>
          </a:xfrm>
          <a:custGeom>
            <a:avLst/>
            <a:gdLst>
              <a:gd name="connsiteX0" fmla="*/ 743331 w 743331"/>
              <a:gd name="connsiteY0" fmla="*/ 0 h 494538"/>
              <a:gd name="connsiteX1" fmla="*/ 743331 w 743331"/>
              <a:gd name="connsiteY1" fmla="*/ 263938 h 494538"/>
              <a:gd name="connsiteX2" fmla="*/ 186595 w 743331"/>
              <a:gd name="connsiteY2" fmla="*/ 494538 h 494538"/>
              <a:gd name="connsiteX3" fmla="*/ 0 w 743331"/>
              <a:gd name="connsiteY3" fmla="*/ 307943 h 494538"/>
              <a:gd name="connsiteX4" fmla="*/ 743331 w 743331"/>
              <a:gd name="connsiteY4" fmla="*/ 0 h 4945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43331" h="494538">
                <a:moveTo>
                  <a:pt x="743331" y="0"/>
                </a:moveTo>
                <a:lnTo>
                  <a:pt x="743331" y="263938"/>
                </a:lnTo>
                <a:cubicBezTo>
                  <a:pt x="525875" y="263938"/>
                  <a:pt x="329089" y="352044"/>
                  <a:pt x="186595" y="494538"/>
                </a:cubicBezTo>
                <a:lnTo>
                  <a:pt x="0" y="307943"/>
                </a:lnTo>
                <a:cubicBezTo>
                  <a:pt x="190214" y="117634"/>
                  <a:pt x="453104" y="0"/>
                  <a:pt x="743331" y="0"/>
                </a:cubicBezTo>
                <a:close/>
              </a:path>
            </a:pathLst>
          </a:custGeom>
          <a:solidFill>
            <a:schemeClr val="bg1"/>
          </a:solidFill>
          <a:ln w="6350" cap="flat">
            <a:solidFill>
              <a:schemeClr val="accent5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6" name="Freihandform: Form 104">
            <a:extLst>
              <a:ext uri="{FF2B5EF4-FFF2-40B4-BE49-F238E27FC236}">
                <a16:creationId xmlns:a16="http://schemas.microsoft.com/office/drawing/2014/main" id="{525CC59D-22CC-4571-B861-45C56F935E8D}"/>
              </a:ext>
            </a:extLst>
          </p:cNvPr>
          <p:cNvSpPr>
            <a:spLocks/>
          </p:cNvSpPr>
          <p:nvPr/>
        </p:nvSpPr>
        <p:spPr>
          <a:xfrm>
            <a:off x="1367365" y="2767421"/>
            <a:ext cx="671898" cy="1010340"/>
          </a:xfrm>
          <a:custGeom>
            <a:avLst/>
            <a:gdLst>
              <a:gd name="connsiteX0" fmla="*/ 494538 w 494538"/>
              <a:gd name="connsiteY0" fmla="*/ 186595 h 743426"/>
              <a:gd name="connsiteX1" fmla="*/ 263938 w 494538"/>
              <a:gd name="connsiteY1" fmla="*/ 743426 h 743426"/>
              <a:gd name="connsiteX2" fmla="*/ 0 w 494538"/>
              <a:gd name="connsiteY2" fmla="*/ 743426 h 743426"/>
              <a:gd name="connsiteX3" fmla="*/ 307943 w 494538"/>
              <a:gd name="connsiteY3" fmla="*/ 0 h 743426"/>
              <a:gd name="connsiteX4" fmla="*/ 494538 w 494538"/>
              <a:gd name="connsiteY4" fmla="*/ 186595 h 7434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4538" h="743426">
                <a:moveTo>
                  <a:pt x="494538" y="186595"/>
                </a:moveTo>
                <a:cubicBezTo>
                  <a:pt x="352044" y="329089"/>
                  <a:pt x="263938" y="525971"/>
                  <a:pt x="263938" y="743426"/>
                </a:cubicBezTo>
                <a:lnTo>
                  <a:pt x="0" y="743426"/>
                </a:lnTo>
                <a:cubicBezTo>
                  <a:pt x="0" y="453104"/>
                  <a:pt x="117729" y="190310"/>
                  <a:pt x="307943" y="0"/>
                </a:cubicBezTo>
                <a:lnTo>
                  <a:pt x="494538" y="186595"/>
                </a:lnTo>
                <a:close/>
              </a:path>
            </a:pathLst>
          </a:custGeom>
          <a:solidFill>
            <a:schemeClr val="accent1"/>
          </a:solidFill>
          <a:ln w="6350" cap="flat">
            <a:solidFill>
              <a:schemeClr val="accent5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7" name="Freihandform: Form 105">
            <a:extLst>
              <a:ext uri="{FF2B5EF4-FFF2-40B4-BE49-F238E27FC236}">
                <a16:creationId xmlns:a16="http://schemas.microsoft.com/office/drawing/2014/main" id="{59F87FC6-9C73-CA97-564F-80B93D9711B8}"/>
              </a:ext>
            </a:extLst>
          </p:cNvPr>
          <p:cNvSpPr>
            <a:spLocks/>
          </p:cNvSpPr>
          <p:nvPr/>
        </p:nvSpPr>
        <p:spPr>
          <a:xfrm>
            <a:off x="1367365" y="3777761"/>
            <a:ext cx="671898" cy="1010212"/>
          </a:xfrm>
          <a:custGeom>
            <a:avLst/>
            <a:gdLst>
              <a:gd name="connsiteX0" fmla="*/ 494538 w 494538"/>
              <a:gd name="connsiteY0" fmla="*/ 556736 h 743331"/>
              <a:gd name="connsiteX1" fmla="*/ 307943 w 494538"/>
              <a:gd name="connsiteY1" fmla="*/ 743331 h 743331"/>
              <a:gd name="connsiteX2" fmla="*/ 0 w 494538"/>
              <a:gd name="connsiteY2" fmla="*/ 0 h 743331"/>
              <a:gd name="connsiteX3" fmla="*/ 263938 w 494538"/>
              <a:gd name="connsiteY3" fmla="*/ 0 h 743331"/>
              <a:gd name="connsiteX4" fmla="*/ 494538 w 494538"/>
              <a:gd name="connsiteY4" fmla="*/ 556736 h 7433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4538" h="743331">
                <a:moveTo>
                  <a:pt x="494538" y="556736"/>
                </a:moveTo>
                <a:lnTo>
                  <a:pt x="307943" y="743331"/>
                </a:lnTo>
                <a:cubicBezTo>
                  <a:pt x="117729" y="553117"/>
                  <a:pt x="0" y="290227"/>
                  <a:pt x="0" y="0"/>
                </a:cubicBezTo>
                <a:lnTo>
                  <a:pt x="263938" y="0"/>
                </a:lnTo>
                <a:cubicBezTo>
                  <a:pt x="263938" y="217456"/>
                  <a:pt x="352044" y="414242"/>
                  <a:pt x="494538" y="556736"/>
                </a:cubicBezTo>
                <a:close/>
              </a:path>
            </a:pathLst>
          </a:custGeom>
          <a:solidFill>
            <a:schemeClr val="bg1"/>
          </a:solidFill>
          <a:ln w="6350" cap="flat">
            <a:solidFill>
              <a:schemeClr val="accent5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8" name="Freihandform: Form 106">
            <a:extLst>
              <a:ext uri="{FF2B5EF4-FFF2-40B4-BE49-F238E27FC236}">
                <a16:creationId xmlns:a16="http://schemas.microsoft.com/office/drawing/2014/main" id="{841B26C9-B619-96D5-5A79-83A825FC148D}"/>
              </a:ext>
            </a:extLst>
          </p:cNvPr>
          <p:cNvSpPr>
            <a:spLocks/>
          </p:cNvSpPr>
          <p:nvPr/>
        </p:nvSpPr>
        <p:spPr>
          <a:xfrm>
            <a:off x="1785749" y="4534385"/>
            <a:ext cx="1009917" cy="672092"/>
          </a:xfrm>
          <a:custGeom>
            <a:avLst/>
            <a:gdLst>
              <a:gd name="connsiteX0" fmla="*/ 743331 w 743331"/>
              <a:gd name="connsiteY0" fmla="*/ 230600 h 494537"/>
              <a:gd name="connsiteX1" fmla="*/ 743331 w 743331"/>
              <a:gd name="connsiteY1" fmla="*/ 494538 h 494537"/>
              <a:gd name="connsiteX2" fmla="*/ 0 w 743331"/>
              <a:gd name="connsiteY2" fmla="*/ 186595 h 494537"/>
              <a:gd name="connsiteX3" fmla="*/ 186595 w 743331"/>
              <a:gd name="connsiteY3" fmla="*/ 0 h 494537"/>
              <a:gd name="connsiteX4" fmla="*/ 743331 w 743331"/>
              <a:gd name="connsiteY4" fmla="*/ 230600 h 4945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43331" h="494537">
                <a:moveTo>
                  <a:pt x="743331" y="230600"/>
                </a:moveTo>
                <a:lnTo>
                  <a:pt x="743331" y="494538"/>
                </a:lnTo>
                <a:cubicBezTo>
                  <a:pt x="453104" y="494538"/>
                  <a:pt x="190214" y="376809"/>
                  <a:pt x="0" y="186595"/>
                </a:cubicBezTo>
                <a:lnTo>
                  <a:pt x="186595" y="0"/>
                </a:lnTo>
                <a:cubicBezTo>
                  <a:pt x="329089" y="142494"/>
                  <a:pt x="525875" y="230600"/>
                  <a:pt x="743331" y="230600"/>
                </a:cubicBezTo>
                <a:close/>
              </a:path>
            </a:pathLst>
          </a:custGeom>
          <a:solidFill>
            <a:schemeClr val="bg1"/>
          </a:solidFill>
          <a:ln w="6350" cap="flat">
            <a:solidFill>
              <a:schemeClr val="accent5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9" name="Freihandform: Form 107">
            <a:extLst>
              <a:ext uri="{FF2B5EF4-FFF2-40B4-BE49-F238E27FC236}">
                <a16:creationId xmlns:a16="http://schemas.microsoft.com/office/drawing/2014/main" id="{D82A70F2-9E87-3D0E-FC60-D1CEF0BB304C}"/>
              </a:ext>
            </a:extLst>
          </p:cNvPr>
          <p:cNvSpPr>
            <a:spLocks/>
          </p:cNvSpPr>
          <p:nvPr/>
        </p:nvSpPr>
        <p:spPr>
          <a:xfrm>
            <a:off x="2795666" y="4534385"/>
            <a:ext cx="1010047" cy="672092"/>
          </a:xfrm>
          <a:custGeom>
            <a:avLst/>
            <a:gdLst>
              <a:gd name="connsiteX0" fmla="*/ 743426 w 743426"/>
              <a:gd name="connsiteY0" fmla="*/ 186595 h 494537"/>
              <a:gd name="connsiteX1" fmla="*/ 0 w 743426"/>
              <a:gd name="connsiteY1" fmla="*/ 494538 h 494537"/>
              <a:gd name="connsiteX2" fmla="*/ 0 w 743426"/>
              <a:gd name="connsiteY2" fmla="*/ 230600 h 494537"/>
              <a:gd name="connsiteX3" fmla="*/ 556831 w 743426"/>
              <a:gd name="connsiteY3" fmla="*/ 0 h 494537"/>
              <a:gd name="connsiteX4" fmla="*/ 743426 w 743426"/>
              <a:gd name="connsiteY4" fmla="*/ 186595 h 4945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43426" h="494537">
                <a:moveTo>
                  <a:pt x="743426" y="186595"/>
                </a:moveTo>
                <a:cubicBezTo>
                  <a:pt x="553117" y="376809"/>
                  <a:pt x="290322" y="494538"/>
                  <a:pt x="0" y="494538"/>
                </a:cubicBezTo>
                <a:lnTo>
                  <a:pt x="0" y="230600"/>
                </a:lnTo>
                <a:cubicBezTo>
                  <a:pt x="217456" y="230600"/>
                  <a:pt x="414338" y="142494"/>
                  <a:pt x="556831" y="0"/>
                </a:cubicBezTo>
                <a:lnTo>
                  <a:pt x="743426" y="186595"/>
                </a:lnTo>
                <a:close/>
              </a:path>
            </a:pathLst>
          </a:custGeom>
          <a:solidFill>
            <a:schemeClr val="bg1"/>
          </a:solidFill>
          <a:ln w="6350" cap="flat">
            <a:solidFill>
              <a:schemeClr val="accent5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0" name="Freihandform: Form 108">
            <a:extLst>
              <a:ext uri="{FF2B5EF4-FFF2-40B4-BE49-F238E27FC236}">
                <a16:creationId xmlns:a16="http://schemas.microsoft.com/office/drawing/2014/main" id="{A68E9CAD-36B5-A3AE-FC15-6F117FFC4112}"/>
              </a:ext>
            </a:extLst>
          </p:cNvPr>
          <p:cNvSpPr>
            <a:spLocks/>
          </p:cNvSpPr>
          <p:nvPr/>
        </p:nvSpPr>
        <p:spPr>
          <a:xfrm>
            <a:off x="3552199" y="3777761"/>
            <a:ext cx="671767" cy="1010212"/>
          </a:xfrm>
          <a:custGeom>
            <a:avLst/>
            <a:gdLst>
              <a:gd name="connsiteX0" fmla="*/ 494443 w 494442"/>
              <a:gd name="connsiteY0" fmla="*/ 0 h 743331"/>
              <a:gd name="connsiteX1" fmla="*/ 186595 w 494442"/>
              <a:gd name="connsiteY1" fmla="*/ 743331 h 743331"/>
              <a:gd name="connsiteX2" fmla="*/ 0 w 494442"/>
              <a:gd name="connsiteY2" fmla="*/ 556736 h 743331"/>
              <a:gd name="connsiteX3" fmla="*/ 230600 w 494442"/>
              <a:gd name="connsiteY3" fmla="*/ 0 h 743331"/>
              <a:gd name="connsiteX4" fmla="*/ 494443 w 494442"/>
              <a:gd name="connsiteY4" fmla="*/ 0 h 7433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4442" h="743331">
                <a:moveTo>
                  <a:pt x="494443" y="0"/>
                </a:moveTo>
                <a:cubicBezTo>
                  <a:pt x="494443" y="290227"/>
                  <a:pt x="376809" y="553117"/>
                  <a:pt x="186595" y="743331"/>
                </a:cubicBezTo>
                <a:lnTo>
                  <a:pt x="0" y="556736"/>
                </a:lnTo>
                <a:cubicBezTo>
                  <a:pt x="142494" y="414242"/>
                  <a:pt x="230600" y="217456"/>
                  <a:pt x="230600" y="0"/>
                </a:cubicBezTo>
                <a:lnTo>
                  <a:pt x="494443" y="0"/>
                </a:lnTo>
                <a:close/>
              </a:path>
            </a:pathLst>
          </a:custGeom>
          <a:solidFill>
            <a:schemeClr val="bg1"/>
          </a:solidFill>
          <a:ln w="6350" cap="flat">
            <a:solidFill>
              <a:schemeClr val="accent5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1" name="Freihandform: Form 109">
            <a:extLst>
              <a:ext uri="{FF2B5EF4-FFF2-40B4-BE49-F238E27FC236}">
                <a16:creationId xmlns:a16="http://schemas.microsoft.com/office/drawing/2014/main" id="{4E00F41F-D36F-A99A-32D6-2993A2EF98D2}"/>
              </a:ext>
            </a:extLst>
          </p:cNvPr>
          <p:cNvSpPr>
            <a:spLocks/>
          </p:cNvSpPr>
          <p:nvPr/>
        </p:nvSpPr>
        <p:spPr>
          <a:xfrm>
            <a:off x="3552199" y="2767421"/>
            <a:ext cx="671767" cy="1010340"/>
          </a:xfrm>
          <a:custGeom>
            <a:avLst/>
            <a:gdLst>
              <a:gd name="connsiteX0" fmla="*/ 494443 w 494442"/>
              <a:gd name="connsiteY0" fmla="*/ 743426 h 743426"/>
              <a:gd name="connsiteX1" fmla="*/ 230600 w 494442"/>
              <a:gd name="connsiteY1" fmla="*/ 743426 h 743426"/>
              <a:gd name="connsiteX2" fmla="*/ 0 w 494442"/>
              <a:gd name="connsiteY2" fmla="*/ 186595 h 743426"/>
              <a:gd name="connsiteX3" fmla="*/ 186595 w 494442"/>
              <a:gd name="connsiteY3" fmla="*/ 0 h 743426"/>
              <a:gd name="connsiteX4" fmla="*/ 494443 w 494442"/>
              <a:gd name="connsiteY4" fmla="*/ 743426 h 7434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4442" h="743426">
                <a:moveTo>
                  <a:pt x="494443" y="743426"/>
                </a:moveTo>
                <a:lnTo>
                  <a:pt x="230600" y="743426"/>
                </a:lnTo>
                <a:cubicBezTo>
                  <a:pt x="230600" y="525971"/>
                  <a:pt x="142494" y="329089"/>
                  <a:pt x="0" y="186595"/>
                </a:cubicBezTo>
                <a:lnTo>
                  <a:pt x="186595" y="0"/>
                </a:lnTo>
                <a:cubicBezTo>
                  <a:pt x="376809" y="190310"/>
                  <a:pt x="494443" y="453104"/>
                  <a:pt x="494443" y="743426"/>
                </a:cubicBezTo>
                <a:close/>
              </a:path>
            </a:pathLst>
          </a:custGeom>
          <a:solidFill>
            <a:schemeClr val="bg1"/>
          </a:solidFill>
          <a:ln w="6350" cap="flat">
            <a:solidFill>
              <a:schemeClr val="accent5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2" name="Freihandform: Form 110">
            <a:extLst>
              <a:ext uri="{FF2B5EF4-FFF2-40B4-BE49-F238E27FC236}">
                <a16:creationId xmlns:a16="http://schemas.microsoft.com/office/drawing/2014/main" id="{7D4A143E-7E91-3C77-27F1-5E4B0C655794}"/>
              </a:ext>
            </a:extLst>
          </p:cNvPr>
          <p:cNvSpPr>
            <a:spLocks/>
          </p:cNvSpPr>
          <p:nvPr/>
        </p:nvSpPr>
        <p:spPr>
          <a:xfrm>
            <a:off x="2795666" y="2348916"/>
            <a:ext cx="1010047" cy="672094"/>
          </a:xfrm>
          <a:custGeom>
            <a:avLst/>
            <a:gdLst>
              <a:gd name="connsiteX0" fmla="*/ 743426 w 743426"/>
              <a:gd name="connsiteY0" fmla="*/ 307943 h 494538"/>
              <a:gd name="connsiteX1" fmla="*/ 556831 w 743426"/>
              <a:gd name="connsiteY1" fmla="*/ 494538 h 494538"/>
              <a:gd name="connsiteX2" fmla="*/ 0 w 743426"/>
              <a:gd name="connsiteY2" fmla="*/ 263938 h 494538"/>
              <a:gd name="connsiteX3" fmla="*/ 0 w 743426"/>
              <a:gd name="connsiteY3" fmla="*/ 0 h 494538"/>
              <a:gd name="connsiteX4" fmla="*/ 743426 w 743426"/>
              <a:gd name="connsiteY4" fmla="*/ 307943 h 4945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43426" h="494538">
                <a:moveTo>
                  <a:pt x="743426" y="307943"/>
                </a:moveTo>
                <a:lnTo>
                  <a:pt x="556831" y="494538"/>
                </a:lnTo>
                <a:cubicBezTo>
                  <a:pt x="414338" y="352044"/>
                  <a:pt x="217456" y="263938"/>
                  <a:pt x="0" y="263938"/>
                </a:cubicBezTo>
                <a:lnTo>
                  <a:pt x="0" y="0"/>
                </a:lnTo>
                <a:cubicBezTo>
                  <a:pt x="290322" y="0"/>
                  <a:pt x="553117" y="117634"/>
                  <a:pt x="743426" y="307943"/>
                </a:cubicBezTo>
                <a:close/>
              </a:path>
            </a:pathLst>
          </a:custGeom>
          <a:solidFill>
            <a:schemeClr val="bg2"/>
          </a:solidFill>
          <a:ln w="6350" cap="flat">
            <a:solidFill>
              <a:schemeClr val="accent5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3" name="Freihandform: Form 111">
            <a:extLst>
              <a:ext uri="{FF2B5EF4-FFF2-40B4-BE49-F238E27FC236}">
                <a16:creationId xmlns:a16="http://schemas.microsoft.com/office/drawing/2014/main" id="{841F3879-627C-76E2-EFAA-CACAE0C08125}"/>
              </a:ext>
            </a:extLst>
          </p:cNvPr>
          <p:cNvSpPr>
            <a:spLocks/>
          </p:cNvSpPr>
          <p:nvPr/>
        </p:nvSpPr>
        <p:spPr>
          <a:xfrm>
            <a:off x="2039263" y="2707616"/>
            <a:ext cx="756403" cy="565687"/>
          </a:xfrm>
          <a:custGeom>
            <a:avLst/>
            <a:gdLst>
              <a:gd name="connsiteX0" fmla="*/ 556736 w 556736"/>
              <a:gd name="connsiteY0" fmla="*/ 0 h 416242"/>
              <a:gd name="connsiteX1" fmla="*/ 556736 w 556736"/>
              <a:gd name="connsiteY1" fmla="*/ 262414 h 416242"/>
              <a:gd name="connsiteX2" fmla="*/ 185642 w 556736"/>
              <a:gd name="connsiteY2" fmla="*/ 416242 h 416242"/>
              <a:gd name="connsiteX3" fmla="*/ 185547 w 556736"/>
              <a:gd name="connsiteY3" fmla="*/ 416242 h 416242"/>
              <a:gd name="connsiteX4" fmla="*/ 0 w 556736"/>
              <a:gd name="connsiteY4" fmla="*/ 230600 h 416242"/>
              <a:gd name="connsiteX5" fmla="*/ 556736 w 556736"/>
              <a:gd name="connsiteY5" fmla="*/ 0 h 4162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56736" h="416242">
                <a:moveTo>
                  <a:pt x="556736" y="0"/>
                </a:moveTo>
                <a:lnTo>
                  <a:pt x="556736" y="262414"/>
                </a:lnTo>
                <a:cubicBezTo>
                  <a:pt x="411956" y="262414"/>
                  <a:pt x="280702" y="321183"/>
                  <a:pt x="185642" y="416242"/>
                </a:cubicBezTo>
                <a:lnTo>
                  <a:pt x="185547" y="416242"/>
                </a:lnTo>
                <a:lnTo>
                  <a:pt x="0" y="230600"/>
                </a:lnTo>
                <a:cubicBezTo>
                  <a:pt x="142494" y="88106"/>
                  <a:pt x="339281" y="0"/>
                  <a:pt x="556736" y="0"/>
                </a:cubicBezTo>
                <a:close/>
              </a:path>
            </a:pathLst>
          </a:custGeom>
          <a:solidFill>
            <a:schemeClr val="bg1"/>
          </a:solidFill>
          <a:ln w="6350" cap="flat">
            <a:solidFill>
              <a:schemeClr val="accent5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4" name="Freihandform: Form 112">
            <a:extLst>
              <a:ext uri="{FF2B5EF4-FFF2-40B4-BE49-F238E27FC236}">
                <a16:creationId xmlns:a16="http://schemas.microsoft.com/office/drawing/2014/main" id="{0A6E7925-F9FA-A171-741F-173F5180A39C}"/>
              </a:ext>
            </a:extLst>
          </p:cNvPr>
          <p:cNvSpPr>
            <a:spLocks/>
          </p:cNvSpPr>
          <p:nvPr/>
        </p:nvSpPr>
        <p:spPr>
          <a:xfrm>
            <a:off x="1725962" y="3021009"/>
            <a:ext cx="565392" cy="756752"/>
          </a:xfrm>
          <a:custGeom>
            <a:avLst/>
            <a:gdLst>
              <a:gd name="connsiteX0" fmla="*/ 416147 w 416147"/>
              <a:gd name="connsiteY0" fmla="*/ 185642 h 556831"/>
              <a:gd name="connsiteX1" fmla="*/ 262414 w 416147"/>
              <a:gd name="connsiteY1" fmla="*/ 556832 h 556831"/>
              <a:gd name="connsiteX2" fmla="*/ 0 w 416147"/>
              <a:gd name="connsiteY2" fmla="*/ 556832 h 556831"/>
              <a:gd name="connsiteX3" fmla="*/ 230600 w 416147"/>
              <a:gd name="connsiteY3" fmla="*/ 0 h 556831"/>
              <a:gd name="connsiteX4" fmla="*/ 416147 w 416147"/>
              <a:gd name="connsiteY4" fmla="*/ 185642 h 556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16147" h="556831">
                <a:moveTo>
                  <a:pt x="416147" y="185642"/>
                </a:moveTo>
                <a:cubicBezTo>
                  <a:pt x="321183" y="280607"/>
                  <a:pt x="262414" y="411861"/>
                  <a:pt x="262414" y="556832"/>
                </a:cubicBezTo>
                <a:lnTo>
                  <a:pt x="0" y="556832"/>
                </a:lnTo>
                <a:cubicBezTo>
                  <a:pt x="0" y="339376"/>
                  <a:pt x="88106" y="142494"/>
                  <a:pt x="230600" y="0"/>
                </a:cubicBezTo>
                <a:lnTo>
                  <a:pt x="416147" y="185642"/>
                </a:lnTo>
                <a:close/>
              </a:path>
            </a:pathLst>
          </a:custGeom>
          <a:solidFill>
            <a:schemeClr val="accent1"/>
          </a:solidFill>
          <a:ln w="6350" cap="flat">
            <a:solidFill>
              <a:schemeClr val="accent5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5" name="Freihandform: Form 113">
            <a:extLst>
              <a:ext uri="{FF2B5EF4-FFF2-40B4-BE49-F238E27FC236}">
                <a16:creationId xmlns:a16="http://schemas.microsoft.com/office/drawing/2014/main" id="{760D4F9A-A7C7-0635-FC4C-7122F20B7EF9}"/>
              </a:ext>
            </a:extLst>
          </p:cNvPr>
          <p:cNvSpPr>
            <a:spLocks/>
          </p:cNvSpPr>
          <p:nvPr/>
        </p:nvSpPr>
        <p:spPr>
          <a:xfrm>
            <a:off x="1725962" y="3777761"/>
            <a:ext cx="565392" cy="756623"/>
          </a:xfrm>
          <a:custGeom>
            <a:avLst/>
            <a:gdLst>
              <a:gd name="connsiteX0" fmla="*/ 416147 w 416147"/>
              <a:gd name="connsiteY0" fmla="*/ 371189 h 556736"/>
              <a:gd name="connsiteX1" fmla="*/ 230600 w 416147"/>
              <a:gd name="connsiteY1" fmla="*/ 556736 h 556736"/>
              <a:gd name="connsiteX2" fmla="*/ 0 w 416147"/>
              <a:gd name="connsiteY2" fmla="*/ 0 h 556736"/>
              <a:gd name="connsiteX3" fmla="*/ 262414 w 416147"/>
              <a:gd name="connsiteY3" fmla="*/ 0 h 556736"/>
              <a:gd name="connsiteX4" fmla="*/ 416147 w 416147"/>
              <a:gd name="connsiteY4" fmla="*/ 371189 h 5567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16147" h="556736">
                <a:moveTo>
                  <a:pt x="416147" y="371189"/>
                </a:moveTo>
                <a:lnTo>
                  <a:pt x="230600" y="556736"/>
                </a:lnTo>
                <a:cubicBezTo>
                  <a:pt x="88106" y="414242"/>
                  <a:pt x="0" y="217456"/>
                  <a:pt x="0" y="0"/>
                </a:cubicBezTo>
                <a:lnTo>
                  <a:pt x="262414" y="0"/>
                </a:lnTo>
                <a:cubicBezTo>
                  <a:pt x="262414" y="144875"/>
                  <a:pt x="321183" y="276130"/>
                  <a:pt x="416147" y="371189"/>
                </a:cubicBezTo>
                <a:close/>
              </a:path>
            </a:pathLst>
          </a:custGeom>
          <a:solidFill>
            <a:schemeClr val="bg1"/>
          </a:solidFill>
          <a:ln w="6350" cap="flat">
            <a:solidFill>
              <a:schemeClr val="accent5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6" name="Freihandform: Form 114">
            <a:extLst>
              <a:ext uri="{FF2B5EF4-FFF2-40B4-BE49-F238E27FC236}">
                <a16:creationId xmlns:a16="http://schemas.microsoft.com/office/drawing/2014/main" id="{89A0A1E8-EB32-5DA1-3A4A-680A4E6C610A}"/>
              </a:ext>
            </a:extLst>
          </p:cNvPr>
          <p:cNvSpPr>
            <a:spLocks/>
          </p:cNvSpPr>
          <p:nvPr/>
        </p:nvSpPr>
        <p:spPr>
          <a:xfrm>
            <a:off x="2039263" y="4282221"/>
            <a:ext cx="756403" cy="565557"/>
          </a:xfrm>
          <a:custGeom>
            <a:avLst/>
            <a:gdLst>
              <a:gd name="connsiteX0" fmla="*/ 556736 w 556736"/>
              <a:gd name="connsiteY0" fmla="*/ 153734 h 416147"/>
              <a:gd name="connsiteX1" fmla="*/ 556736 w 556736"/>
              <a:gd name="connsiteY1" fmla="*/ 416147 h 416147"/>
              <a:gd name="connsiteX2" fmla="*/ 0 w 556736"/>
              <a:gd name="connsiteY2" fmla="*/ 185547 h 416147"/>
              <a:gd name="connsiteX3" fmla="*/ 185547 w 556736"/>
              <a:gd name="connsiteY3" fmla="*/ 0 h 416147"/>
              <a:gd name="connsiteX4" fmla="*/ 556736 w 556736"/>
              <a:gd name="connsiteY4" fmla="*/ 153734 h 4161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6736" h="416147">
                <a:moveTo>
                  <a:pt x="556736" y="153734"/>
                </a:moveTo>
                <a:lnTo>
                  <a:pt x="556736" y="416147"/>
                </a:lnTo>
                <a:cubicBezTo>
                  <a:pt x="339281" y="416147"/>
                  <a:pt x="142494" y="328041"/>
                  <a:pt x="0" y="185547"/>
                </a:cubicBezTo>
                <a:lnTo>
                  <a:pt x="185547" y="0"/>
                </a:lnTo>
                <a:cubicBezTo>
                  <a:pt x="280607" y="94964"/>
                  <a:pt x="411861" y="153734"/>
                  <a:pt x="556736" y="153734"/>
                </a:cubicBezTo>
                <a:close/>
              </a:path>
            </a:pathLst>
          </a:custGeom>
          <a:solidFill>
            <a:schemeClr val="bg1"/>
          </a:solidFill>
          <a:ln w="6350" cap="flat">
            <a:solidFill>
              <a:schemeClr val="accent5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7" name="Freihandform: Form 115">
            <a:extLst>
              <a:ext uri="{FF2B5EF4-FFF2-40B4-BE49-F238E27FC236}">
                <a16:creationId xmlns:a16="http://schemas.microsoft.com/office/drawing/2014/main" id="{87A86C0E-3FB8-4DBD-7604-EC00C6DAFE10}"/>
              </a:ext>
            </a:extLst>
          </p:cNvPr>
          <p:cNvSpPr>
            <a:spLocks/>
          </p:cNvSpPr>
          <p:nvPr/>
        </p:nvSpPr>
        <p:spPr>
          <a:xfrm>
            <a:off x="2795666" y="4282221"/>
            <a:ext cx="756531" cy="565557"/>
          </a:xfrm>
          <a:custGeom>
            <a:avLst/>
            <a:gdLst>
              <a:gd name="connsiteX0" fmla="*/ 556831 w 556831"/>
              <a:gd name="connsiteY0" fmla="*/ 185547 h 416147"/>
              <a:gd name="connsiteX1" fmla="*/ 0 w 556831"/>
              <a:gd name="connsiteY1" fmla="*/ 416147 h 416147"/>
              <a:gd name="connsiteX2" fmla="*/ 0 w 556831"/>
              <a:gd name="connsiteY2" fmla="*/ 153734 h 416147"/>
              <a:gd name="connsiteX3" fmla="*/ 371189 w 556831"/>
              <a:gd name="connsiteY3" fmla="*/ 0 h 416147"/>
              <a:gd name="connsiteX4" fmla="*/ 556831 w 556831"/>
              <a:gd name="connsiteY4" fmla="*/ 185547 h 4161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6831" h="416147">
                <a:moveTo>
                  <a:pt x="556831" y="185547"/>
                </a:moveTo>
                <a:cubicBezTo>
                  <a:pt x="414338" y="328041"/>
                  <a:pt x="217456" y="416147"/>
                  <a:pt x="0" y="416147"/>
                </a:cubicBezTo>
                <a:lnTo>
                  <a:pt x="0" y="153734"/>
                </a:lnTo>
                <a:cubicBezTo>
                  <a:pt x="144971" y="153734"/>
                  <a:pt x="276225" y="94964"/>
                  <a:pt x="371189" y="0"/>
                </a:cubicBezTo>
                <a:lnTo>
                  <a:pt x="556831" y="185547"/>
                </a:lnTo>
                <a:close/>
              </a:path>
            </a:pathLst>
          </a:custGeom>
          <a:solidFill>
            <a:schemeClr val="accent1"/>
          </a:solidFill>
          <a:ln w="6350" cap="flat">
            <a:solidFill>
              <a:schemeClr val="accent5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8" name="Freihandform: Form 116">
            <a:extLst>
              <a:ext uri="{FF2B5EF4-FFF2-40B4-BE49-F238E27FC236}">
                <a16:creationId xmlns:a16="http://schemas.microsoft.com/office/drawing/2014/main" id="{0BC9A57C-5375-82C8-FEA7-2BDC2B9F8455}"/>
              </a:ext>
            </a:extLst>
          </p:cNvPr>
          <p:cNvSpPr>
            <a:spLocks/>
          </p:cNvSpPr>
          <p:nvPr/>
        </p:nvSpPr>
        <p:spPr>
          <a:xfrm>
            <a:off x="3299978" y="3777761"/>
            <a:ext cx="565522" cy="756623"/>
          </a:xfrm>
          <a:custGeom>
            <a:avLst/>
            <a:gdLst>
              <a:gd name="connsiteX0" fmla="*/ 416242 w 416242"/>
              <a:gd name="connsiteY0" fmla="*/ 0 h 556736"/>
              <a:gd name="connsiteX1" fmla="*/ 185642 w 416242"/>
              <a:gd name="connsiteY1" fmla="*/ 556736 h 556736"/>
              <a:gd name="connsiteX2" fmla="*/ 0 w 416242"/>
              <a:gd name="connsiteY2" fmla="*/ 371189 h 556736"/>
              <a:gd name="connsiteX3" fmla="*/ 0 w 416242"/>
              <a:gd name="connsiteY3" fmla="*/ 371189 h 556736"/>
              <a:gd name="connsiteX4" fmla="*/ 153734 w 416242"/>
              <a:gd name="connsiteY4" fmla="*/ 0 h 556736"/>
              <a:gd name="connsiteX5" fmla="*/ 416242 w 416242"/>
              <a:gd name="connsiteY5" fmla="*/ 0 h 5567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6242" h="556736">
                <a:moveTo>
                  <a:pt x="416242" y="0"/>
                </a:moveTo>
                <a:cubicBezTo>
                  <a:pt x="416242" y="217456"/>
                  <a:pt x="328136" y="414242"/>
                  <a:pt x="185642" y="556736"/>
                </a:cubicBezTo>
                <a:lnTo>
                  <a:pt x="0" y="371189"/>
                </a:lnTo>
                <a:lnTo>
                  <a:pt x="0" y="371189"/>
                </a:lnTo>
                <a:cubicBezTo>
                  <a:pt x="94964" y="276034"/>
                  <a:pt x="153734" y="144780"/>
                  <a:pt x="153734" y="0"/>
                </a:cubicBezTo>
                <a:lnTo>
                  <a:pt x="416242" y="0"/>
                </a:lnTo>
                <a:close/>
              </a:path>
            </a:pathLst>
          </a:custGeom>
          <a:solidFill>
            <a:schemeClr val="bg1"/>
          </a:solidFill>
          <a:ln w="6350" cap="flat">
            <a:solidFill>
              <a:schemeClr val="accent5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9" name="Freihandform: Form 117">
            <a:extLst>
              <a:ext uri="{FF2B5EF4-FFF2-40B4-BE49-F238E27FC236}">
                <a16:creationId xmlns:a16="http://schemas.microsoft.com/office/drawing/2014/main" id="{6FF6EFE2-8900-CAAC-FD50-9FA7CD162A39}"/>
              </a:ext>
            </a:extLst>
          </p:cNvPr>
          <p:cNvSpPr>
            <a:spLocks/>
          </p:cNvSpPr>
          <p:nvPr/>
        </p:nvSpPr>
        <p:spPr>
          <a:xfrm>
            <a:off x="3299978" y="3021009"/>
            <a:ext cx="565522" cy="756752"/>
          </a:xfrm>
          <a:custGeom>
            <a:avLst/>
            <a:gdLst>
              <a:gd name="connsiteX0" fmla="*/ 416242 w 416242"/>
              <a:gd name="connsiteY0" fmla="*/ 556832 h 556831"/>
              <a:gd name="connsiteX1" fmla="*/ 153734 w 416242"/>
              <a:gd name="connsiteY1" fmla="*/ 556832 h 556831"/>
              <a:gd name="connsiteX2" fmla="*/ 0 w 416242"/>
              <a:gd name="connsiteY2" fmla="*/ 185642 h 556831"/>
              <a:gd name="connsiteX3" fmla="*/ 185642 w 416242"/>
              <a:gd name="connsiteY3" fmla="*/ 0 h 556831"/>
              <a:gd name="connsiteX4" fmla="*/ 416242 w 416242"/>
              <a:gd name="connsiteY4" fmla="*/ 556832 h 556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16242" h="556831">
                <a:moveTo>
                  <a:pt x="416242" y="556832"/>
                </a:moveTo>
                <a:lnTo>
                  <a:pt x="153734" y="556832"/>
                </a:lnTo>
                <a:cubicBezTo>
                  <a:pt x="153734" y="411861"/>
                  <a:pt x="94964" y="280607"/>
                  <a:pt x="0" y="185642"/>
                </a:cubicBezTo>
                <a:lnTo>
                  <a:pt x="185642" y="0"/>
                </a:lnTo>
                <a:cubicBezTo>
                  <a:pt x="328136" y="142494"/>
                  <a:pt x="416242" y="339376"/>
                  <a:pt x="416242" y="556832"/>
                </a:cubicBezTo>
                <a:close/>
              </a:path>
            </a:pathLst>
          </a:custGeom>
          <a:solidFill>
            <a:schemeClr val="bg1"/>
          </a:solidFill>
          <a:ln w="6350" cap="flat">
            <a:solidFill>
              <a:schemeClr val="accent5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40" name="Freihandform: Form 118">
            <a:extLst>
              <a:ext uri="{FF2B5EF4-FFF2-40B4-BE49-F238E27FC236}">
                <a16:creationId xmlns:a16="http://schemas.microsoft.com/office/drawing/2014/main" id="{2C2BB0DB-77F0-C8B0-BAAE-1E4260232E3B}"/>
              </a:ext>
            </a:extLst>
          </p:cNvPr>
          <p:cNvSpPr>
            <a:spLocks/>
          </p:cNvSpPr>
          <p:nvPr/>
        </p:nvSpPr>
        <p:spPr>
          <a:xfrm>
            <a:off x="2795666" y="2707616"/>
            <a:ext cx="756531" cy="565687"/>
          </a:xfrm>
          <a:custGeom>
            <a:avLst/>
            <a:gdLst>
              <a:gd name="connsiteX0" fmla="*/ 556831 w 556831"/>
              <a:gd name="connsiteY0" fmla="*/ 230600 h 416242"/>
              <a:gd name="connsiteX1" fmla="*/ 371189 w 556831"/>
              <a:gd name="connsiteY1" fmla="*/ 416242 h 416242"/>
              <a:gd name="connsiteX2" fmla="*/ 0 w 556831"/>
              <a:gd name="connsiteY2" fmla="*/ 262414 h 416242"/>
              <a:gd name="connsiteX3" fmla="*/ 0 w 556831"/>
              <a:gd name="connsiteY3" fmla="*/ 0 h 416242"/>
              <a:gd name="connsiteX4" fmla="*/ 556831 w 556831"/>
              <a:gd name="connsiteY4" fmla="*/ 230600 h 4162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6831" h="416242">
                <a:moveTo>
                  <a:pt x="556831" y="230600"/>
                </a:moveTo>
                <a:lnTo>
                  <a:pt x="371189" y="416242"/>
                </a:lnTo>
                <a:cubicBezTo>
                  <a:pt x="276225" y="321183"/>
                  <a:pt x="144971" y="262414"/>
                  <a:pt x="0" y="262414"/>
                </a:cubicBezTo>
                <a:lnTo>
                  <a:pt x="0" y="0"/>
                </a:lnTo>
                <a:cubicBezTo>
                  <a:pt x="217456" y="0"/>
                  <a:pt x="414338" y="88106"/>
                  <a:pt x="556831" y="230600"/>
                </a:cubicBezTo>
                <a:close/>
              </a:path>
            </a:pathLst>
          </a:custGeom>
          <a:solidFill>
            <a:schemeClr val="bg2"/>
          </a:solidFill>
          <a:ln w="6350" cap="flat">
            <a:solidFill>
              <a:schemeClr val="accent5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41" name="Freihandform: Form 119">
            <a:extLst>
              <a:ext uri="{FF2B5EF4-FFF2-40B4-BE49-F238E27FC236}">
                <a16:creationId xmlns:a16="http://schemas.microsoft.com/office/drawing/2014/main" id="{F265DF23-15D9-F4AC-4782-536A54C5A923}"/>
              </a:ext>
            </a:extLst>
          </p:cNvPr>
          <p:cNvSpPr>
            <a:spLocks/>
          </p:cNvSpPr>
          <p:nvPr/>
        </p:nvSpPr>
        <p:spPr>
          <a:xfrm>
            <a:off x="3047886" y="3273303"/>
            <a:ext cx="460958" cy="504458"/>
          </a:xfrm>
          <a:custGeom>
            <a:avLst/>
            <a:gdLst>
              <a:gd name="connsiteX0" fmla="*/ 185547 w 339280"/>
              <a:gd name="connsiteY0" fmla="*/ 0 h 371189"/>
              <a:gd name="connsiteX1" fmla="*/ 0 w 339280"/>
              <a:gd name="connsiteY1" fmla="*/ 185547 h 371189"/>
              <a:gd name="connsiteX2" fmla="*/ 76867 w 339280"/>
              <a:gd name="connsiteY2" fmla="*/ 371189 h 371189"/>
              <a:gd name="connsiteX3" fmla="*/ 339281 w 339280"/>
              <a:gd name="connsiteY3" fmla="*/ 371189 h 371189"/>
              <a:gd name="connsiteX4" fmla="*/ 185547 w 339280"/>
              <a:gd name="connsiteY4" fmla="*/ 0 h 3711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9280" h="371189">
                <a:moveTo>
                  <a:pt x="185547" y="0"/>
                </a:moveTo>
                <a:lnTo>
                  <a:pt x="0" y="185547"/>
                </a:lnTo>
                <a:cubicBezTo>
                  <a:pt x="47435" y="233077"/>
                  <a:pt x="76867" y="298704"/>
                  <a:pt x="76867" y="371189"/>
                </a:cubicBezTo>
                <a:lnTo>
                  <a:pt x="339281" y="371189"/>
                </a:lnTo>
                <a:cubicBezTo>
                  <a:pt x="339281" y="226219"/>
                  <a:pt x="280511" y="94964"/>
                  <a:pt x="185547" y="0"/>
                </a:cubicBezTo>
                <a:close/>
              </a:path>
            </a:pathLst>
          </a:custGeom>
          <a:solidFill>
            <a:schemeClr val="bg2"/>
          </a:solidFill>
          <a:ln w="6350" cap="flat">
            <a:solidFill>
              <a:schemeClr val="accent5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42" name="Freihandform: Form 120">
            <a:extLst>
              <a:ext uri="{FF2B5EF4-FFF2-40B4-BE49-F238E27FC236}">
                <a16:creationId xmlns:a16="http://schemas.microsoft.com/office/drawing/2014/main" id="{C6815159-96DC-41F4-CD4E-2839C48C24A9}"/>
              </a:ext>
            </a:extLst>
          </p:cNvPr>
          <p:cNvSpPr>
            <a:spLocks/>
          </p:cNvSpPr>
          <p:nvPr/>
        </p:nvSpPr>
        <p:spPr>
          <a:xfrm>
            <a:off x="2795666" y="3064246"/>
            <a:ext cx="504312" cy="461222"/>
          </a:xfrm>
          <a:custGeom>
            <a:avLst/>
            <a:gdLst>
              <a:gd name="connsiteX0" fmla="*/ 371189 w 371189"/>
              <a:gd name="connsiteY0" fmla="*/ 153829 h 339375"/>
              <a:gd name="connsiteX1" fmla="*/ 185642 w 371189"/>
              <a:gd name="connsiteY1" fmla="*/ 339376 h 339375"/>
              <a:gd name="connsiteX2" fmla="*/ 0 w 371189"/>
              <a:gd name="connsiteY2" fmla="*/ 262509 h 339375"/>
              <a:gd name="connsiteX3" fmla="*/ 0 w 371189"/>
              <a:gd name="connsiteY3" fmla="*/ 0 h 339375"/>
              <a:gd name="connsiteX4" fmla="*/ 371189 w 371189"/>
              <a:gd name="connsiteY4" fmla="*/ 153829 h 339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1189" h="339375">
                <a:moveTo>
                  <a:pt x="371189" y="153829"/>
                </a:moveTo>
                <a:lnTo>
                  <a:pt x="185642" y="339376"/>
                </a:lnTo>
                <a:cubicBezTo>
                  <a:pt x="138113" y="291941"/>
                  <a:pt x="72485" y="262509"/>
                  <a:pt x="0" y="262509"/>
                </a:cubicBezTo>
                <a:lnTo>
                  <a:pt x="0" y="0"/>
                </a:lnTo>
                <a:cubicBezTo>
                  <a:pt x="144971" y="0"/>
                  <a:pt x="276225" y="58769"/>
                  <a:pt x="371189" y="153829"/>
                </a:cubicBezTo>
                <a:close/>
              </a:path>
            </a:pathLst>
          </a:custGeom>
          <a:solidFill>
            <a:schemeClr val="bg2"/>
          </a:solidFill>
          <a:ln w="6350" cap="flat">
            <a:solidFill>
              <a:schemeClr val="accent5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43" name="Freihandform: Form 121">
            <a:extLst>
              <a:ext uri="{FF2B5EF4-FFF2-40B4-BE49-F238E27FC236}">
                <a16:creationId xmlns:a16="http://schemas.microsoft.com/office/drawing/2014/main" id="{3EA38B00-2BF4-A9F3-4977-F3B6B6B2D732}"/>
              </a:ext>
            </a:extLst>
          </p:cNvPr>
          <p:cNvSpPr>
            <a:spLocks/>
          </p:cNvSpPr>
          <p:nvPr/>
        </p:nvSpPr>
        <p:spPr>
          <a:xfrm>
            <a:off x="3047886" y="3777761"/>
            <a:ext cx="460958" cy="504329"/>
          </a:xfrm>
          <a:custGeom>
            <a:avLst/>
            <a:gdLst>
              <a:gd name="connsiteX0" fmla="*/ 339281 w 339280"/>
              <a:gd name="connsiteY0" fmla="*/ 0 h 371094"/>
              <a:gd name="connsiteX1" fmla="*/ 185547 w 339280"/>
              <a:gd name="connsiteY1" fmla="*/ 371094 h 371094"/>
              <a:gd name="connsiteX2" fmla="*/ 0 w 339280"/>
              <a:gd name="connsiteY2" fmla="*/ 185547 h 371094"/>
              <a:gd name="connsiteX3" fmla="*/ 76867 w 339280"/>
              <a:gd name="connsiteY3" fmla="*/ 0 h 371094"/>
              <a:gd name="connsiteX4" fmla="*/ 339281 w 339280"/>
              <a:gd name="connsiteY4" fmla="*/ 0 h 3710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9280" h="371094">
                <a:moveTo>
                  <a:pt x="339281" y="0"/>
                </a:moveTo>
                <a:cubicBezTo>
                  <a:pt x="339281" y="144780"/>
                  <a:pt x="280511" y="276034"/>
                  <a:pt x="185547" y="371094"/>
                </a:cubicBezTo>
                <a:lnTo>
                  <a:pt x="0" y="185547"/>
                </a:lnTo>
                <a:cubicBezTo>
                  <a:pt x="47435" y="138017"/>
                  <a:pt x="76867" y="72485"/>
                  <a:pt x="76867" y="0"/>
                </a:cubicBezTo>
                <a:lnTo>
                  <a:pt x="339281" y="0"/>
                </a:lnTo>
                <a:close/>
              </a:path>
            </a:pathLst>
          </a:custGeom>
          <a:solidFill>
            <a:schemeClr val="bg2"/>
          </a:solidFill>
          <a:ln w="6350" cap="flat">
            <a:solidFill>
              <a:schemeClr val="accent5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45" name="Freihandform: Form 122">
            <a:extLst>
              <a:ext uri="{FF2B5EF4-FFF2-40B4-BE49-F238E27FC236}">
                <a16:creationId xmlns:a16="http://schemas.microsoft.com/office/drawing/2014/main" id="{C0F031C0-1743-BC9D-0C3B-FCB49BAA5655}"/>
              </a:ext>
            </a:extLst>
          </p:cNvPr>
          <p:cNvSpPr>
            <a:spLocks/>
          </p:cNvSpPr>
          <p:nvPr/>
        </p:nvSpPr>
        <p:spPr>
          <a:xfrm>
            <a:off x="2795666" y="4029926"/>
            <a:ext cx="504312" cy="461222"/>
          </a:xfrm>
          <a:custGeom>
            <a:avLst/>
            <a:gdLst>
              <a:gd name="connsiteX0" fmla="*/ 371189 w 371189"/>
              <a:gd name="connsiteY0" fmla="*/ 185547 h 339375"/>
              <a:gd name="connsiteX1" fmla="*/ 371189 w 371189"/>
              <a:gd name="connsiteY1" fmla="*/ 185547 h 339375"/>
              <a:gd name="connsiteX2" fmla="*/ 0 w 371189"/>
              <a:gd name="connsiteY2" fmla="*/ 339376 h 339375"/>
              <a:gd name="connsiteX3" fmla="*/ 0 w 371189"/>
              <a:gd name="connsiteY3" fmla="*/ 76867 h 339375"/>
              <a:gd name="connsiteX4" fmla="*/ 185642 w 371189"/>
              <a:gd name="connsiteY4" fmla="*/ 0 h 339375"/>
              <a:gd name="connsiteX5" fmla="*/ 371189 w 371189"/>
              <a:gd name="connsiteY5" fmla="*/ 185547 h 339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71189" h="339375">
                <a:moveTo>
                  <a:pt x="371189" y="185547"/>
                </a:moveTo>
                <a:lnTo>
                  <a:pt x="371189" y="185547"/>
                </a:lnTo>
                <a:cubicBezTo>
                  <a:pt x="276225" y="280607"/>
                  <a:pt x="144971" y="339376"/>
                  <a:pt x="0" y="339376"/>
                </a:cubicBezTo>
                <a:lnTo>
                  <a:pt x="0" y="76867"/>
                </a:lnTo>
                <a:cubicBezTo>
                  <a:pt x="72485" y="76867"/>
                  <a:pt x="138113" y="47530"/>
                  <a:pt x="185642" y="0"/>
                </a:cubicBezTo>
                <a:lnTo>
                  <a:pt x="371189" y="185547"/>
                </a:lnTo>
                <a:close/>
              </a:path>
            </a:pathLst>
          </a:custGeom>
          <a:solidFill>
            <a:schemeClr val="accent1"/>
          </a:solidFill>
          <a:ln w="6350" cap="flat">
            <a:solidFill>
              <a:schemeClr val="accent5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46" name="Freihandform: Form 123">
            <a:extLst>
              <a:ext uri="{FF2B5EF4-FFF2-40B4-BE49-F238E27FC236}">
                <a16:creationId xmlns:a16="http://schemas.microsoft.com/office/drawing/2014/main" id="{389D7FD1-CA04-4DE3-99DD-5691607BBF41}"/>
              </a:ext>
            </a:extLst>
          </p:cNvPr>
          <p:cNvSpPr>
            <a:spLocks/>
          </p:cNvSpPr>
          <p:nvPr/>
        </p:nvSpPr>
        <p:spPr>
          <a:xfrm>
            <a:off x="2291354" y="4029926"/>
            <a:ext cx="504312" cy="461222"/>
          </a:xfrm>
          <a:custGeom>
            <a:avLst/>
            <a:gdLst>
              <a:gd name="connsiteX0" fmla="*/ 371189 w 371189"/>
              <a:gd name="connsiteY0" fmla="*/ 76867 h 339375"/>
              <a:gd name="connsiteX1" fmla="*/ 371189 w 371189"/>
              <a:gd name="connsiteY1" fmla="*/ 339376 h 339375"/>
              <a:gd name="connsiteX2" fmla="*/ 0 w 371189"/>
              <a:gd name="connsiteY2" fmla="*/ 185642 h 339375"/>
              <a:gd name="connsiteX3" fmla="*/ 185642 w 371189"/>
              <a:gd name="connsiteY3" fmla="*/ 0 h 339375"/>
              <a:gd name="connsiteX4" fmla="*/ 371189 w 371189"/>
              <a:gd name="connsiteY4" fmla="*/ 76867 h 339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1189" h="339375">
                <a:moveTo>
                  <a:pt x="371189" y="76867"/>
                </a:moveTo>
                <a:lnTo>
                  <a:pt x="371189" y="339376"/>
                </a:lnTo>
                <a:cubicBezTo>
                  <a:pt x="226314" y="339376"/>
                  <a:pt x="95059" y="280607"/>
                  <a:pt x="0" y="185642"/>
                </a:cubicBezTo>
                <a:lnTo>
                  <a:pt x="185642" y="0"/>
                </a:lnTo>
                <a:cubicBezTo>
                  <a:pt x="233077" y="47530"/>
                  <a:pt x="298704" y="76867"/>
                  <a:pt x="371189" y="76867"/>
                </a:cubicBezTo>
                <a:close/>
              </a:path>
            </a:pathLst>
          </a:custGeom>
          <a:solidFill>
            <a:schemeClr val="bg2"/>
          </a:solidFill>
          <a:ln w="6350" cap="flat">
            <a:solidFill>
              <a:schemeClr val="accent5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47" name="Freihandform: Form 124">
            <a:extLst>
              <a:ext uri="{FF2B5EF4-FFF2-40B4-BE49-F238E27FC236}">
                <a16:creationId xmlns:a16="http://schemas.microsoft.com/office/drawing/2014/main" id="{606CFDDA-808E-1025-4F9D-125892EC0C5B}"/>
              </a:ext>
            </a:extLst>
          </p:cNvPr>
          <p:cNvSpPr>
            <a:spLocks/>
          </p:cNvSpPr>
          <p:nvPr/>
        </p:nvSpPr>
        <p:spPr>
          <a:xfrm>
            <a:off x="2082487" y="3777761"/>
            <a:ext cx="461088" cy="504458"/>
          </a:xfrm>
          <a:custGeom>
            <a:avLst/>
            <a:gdLst>
              <a:gd name="connsiteX0" fmla="*/ 339376 w 339375"/>
              <a:gd name="connsiteY0" fmla="*/ 185547 h 371189"/>
              <a:gd name="connsiteX1" fmla="*/ 153734 w 339375"/>
              <a:gd name="connsiteY1" fmla="*/ 371189 h 371189"/>
              <a:gd name="connsiteX2" fmla="*/ 0 w 339375"/>
              <a:gd name="connsiteY2" fmla="*/ 0 h 371189"/>
              <a:gd name="connsiteX3" fmla="*/ 262509 w 339375"/>
              <a:gd name="connsiteY3" fmla="*/ 0 h 371189"/>
              <a:gd name="connsiteX4" fmla="*/ 339376 w 339375"/>
              <a:gd name="connsiteY4" fmla="*/ 185547 h 3711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9375" h="371189">
                <a:moveTo>
                  <a:pt x="339376" y="185547"/>
                </a:moveTo>
                <a:lnTo>
                  <a:pt x="153734" y="371189"/>
                </a:lnTo>
                <a:cubicBezTo>
                  <a:pt x="58769" y="276130"/>
                  <a:pt x="0" y="144875"/>
                  <a:pt x="0" y="0"/>
                </a:cubicBezTo>
                <a:lnTo>
                  <a:pt x="262509" y="0"/>
                </a:lnTo>
                <a:cubicBezTo>
                  <a:pt x="262509" y="72485"/>
                  <a:pt x="291846" y="138017"/>
                  <a:pt x="339376" y="185547"/>
                </a:cubicBezTo>
                <a:close/>
              </a:path>
            </a:pathLst>
          </a:custGeom>
          <a:solidFill>
            <a:schemeClr val="bg2"/>
          </a:solidFill>
          <a:ln w="6350" cap="flat">
            <a:solidFill>
              <a:schemeClr val="accent5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48" name="Freihandform: Form 125">
            <a:extLst>
              <a:ext uri="{FF2B5EF4-FFF2-40B4-BE49-F238E27FC236}">
                <a16:creationId xmlns:a16="http://schemas.microsoft.com/office/drawing/2014/main" id="{E67A14FE-6FD8-1E76-05CA-5547D3587488}"/>
              </a:ext>
            </a:extLst>
          </p:cNvPr>
          <p:cNvSpPr>
            <a:spLocks/>
          </p:cNvSpPr>
          <p:nvPr/>
        </p:nvSpPr>
        <p:spPr>
          <a:xfrm>
            <a:off x="2082487" y="3273303"/>
            <a:ext cx="461088" cy="504458"/>
          </a:xfrm>
          <a:custGeom>
            <a:avLst/>
            <a:gdLst>
              <a:gd name="connsiteX0" fmla="*/ 339376 w 339375"/>
              <a:gd name="connsiteY0" fmla="*/ 185547 h 371189"/>
              <a:gd name="connsiteX1" fmla="*/ 262509 w 339375"/>
              <a:gd name="connsiteY1" fmla="*/ 371189 h 371189"/>
              <a:gd name="connsiteX2" fmla="*/ 0 w 339375"/>
              <a:gd name="connsiteY2" fmla="*/ 371189 h 371189"/>
              <a:gd name="connsiteX3" fmla="*/ 153734 w 339375"/>
              <a:gd name="connsiteY3" fmla="*/ 0 h 371189"/>
              <a:gd name="connsiteX4" fmla="*/ 153829 w 339375"/>
              <a:gd name="connsiteY4" fmla="*/ 0 h 371189"/>
              <a:gd name="connsiteX5" fmla="*/ 339376 w 339375"/>
              <a:gd name="connsiteY5" fmla="*/ 185547 h 3711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9375" h="371189">
                <a:moveTo>
                  <a:pt x="339376" y="185547"/>
                </a:moveTo>
                <a:cubicBezTo>
                  <a:pt x="291846" y="233077"/>
                  <a:pt x="262509" y="298704"/>
                  <a:pt x="262509" y="371189"/>
                </a:cubicBezTo>
                <a:lnTo>
                  <a:pt x="0" y="371189"/>
                </a:lnTo>
                <a:cubicBezTo>
                  <a:pt x="0" y="226219"/>
                  <a:pt x="58769" y="94964"/>
                  <a:pt x="153734" y="0"/>
                </a:cubicBezTo>
                <a:lnTo>
                  <a:pt x="153829" y="0"/>
                </a:lnTo>
                <a:lnTo>
                  <a:pt x="339376" y="185547"/>
                </a:lnTo>
                <a:close/>
              </a:path>
            </a:pathLst>
          </a:custGeom>
          <a:solidFill>
            <a:schemeClr val="accent1"/>
          </a:solidFill>
          <a:ln w="6350" cap="flat">
            <a:solidFill>
              <a:schemeClr val="accent5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49" name="Freihandform: Form 126">
            <a:extLst>
              <a:ext uri="{FF2B5EF4-FFF2-40B4-BE49-F238E27FC236}">
                <a16:creationId xmlns:a16="http://schemas.microsoft.com/office/drawing/2014/main" id="{0C8BB0E2-768A-A771-C476-99D920ECC65E}"/>
              </a:ext>
            </a:extLst>
          </p:cNvPr>
          <p:cNvSpPr>
            <a:spLocks/>
          </p:cNvSpPr>
          <p:nvPr/>
        </p:nvSpPr>
        <p:spPr>
          <a:xfrm>
            <a:off x="2291484" y="3064246"/>
            <a:ext cx="504182" cy="461222"/>
          </a:xfrm>
          <a:custGeom>
            <a:avLst/>
            <a:gdLst>
              <a:gd name="connsiteX0" fmla="*/ 371094 w 371094"/>
              <a:gd name="connsiteY0" fmla="*/ 0 h 339375"/>
              <a:gd name="connsiteX1" fmla="*/ 371094 w 371094"/>
              <a:gd name="connsiteY1" fmla="*/ 262509 h 339375"/>
              <a:gd name="connsiteX2" fmla="*/ 185547 w 371094"/>
              <a:gd name="connsiteY2" fmla="*/ 339376 h 339375"/>
              <a:gd name="connsiteX3" fmla="*/ 0 w 371094"/>
              <a:gd name="connsiteY3" fmla="*/ 153829 h 339375"/>
              <a:gd name="connsiteX4" fmla="*/ 371094 w 371094"/>
              <a:gd name="connsiteY4" fmla="*/ 0 h 339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1094" h="339375">
                <a:moveTo>
                  <a:pt x="371094" y="0"/>
                </a:moveTo>
                <a:lnTo>
                  <a:pt x="371094" y="262509"/>
                </a:lnTo>
                <a:cubicBezTo>
                  <a:pt x="298609" y="262509"/>
                  <a:pt x="232981" y="291941"/>
                  <a:pt x="185547" y="339376"/>
                </a:cubicBezTo>
                <a:lnTo>
                  <a:pt x="0" y="153829"/>
                </a:lnTo>
                <a:cubicBezTo>
                  <a:pt x="95060" y="58769"/>
                  <a:pt x="226314" y="0"/>
                  <a:pt x="371094" y="0"/>
                </a:cubicBezTo>
                <a:close/>
              </a:path>
            </a:pathLst>
          </a:custGeom>
          <a:solidFill>
            <a:schemeClr val="bg2"/>
          </a:solidFill>
          <a:ln w="6350" cap="flat">
            <a:solidFill>
              <a:schemeClr val="accent5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0" name="Freihandform: Form 127">
            <a:extLst>
              <a:ext uri="{FF2B5EF4-FFF2-40B4-BE49-F238E27FC236}">
                <a16:creationId xmlns:a16="http://schemas.microsoft.com/office/drawing/2014/main" id="{5B711CBE-3830-76D6-56AB-93C9F0D3DA61}"/>
              </a:ext>
            </a:extLst>
          </p:cNvPr>
          <p:cNvSpPr>
            <a:spLocks/>
          </p:cNvSpPr>
          <p:nvPr/>
        </p:nvSpPr>
        <p:spPr>
          <a:xfrm>
            <a:off x="2543575" y="3777761"/>
            <a:ext cx="252091" cy="356628"/>
          </a:xfrm>
          <a:custGeom>
            <a:avLst/>
            <a:gdLst>
              <a:gd name="connsiteX0" fmla="*/ 185547 w 185547"/>
              <a:gd name="connsiteY0" fmla="*/ 0 h 262413"/>
              <a:gd name="connsiteX1" fmla="*/ 185547 w 185547"/>
              <a:gd name="connsiteY1" fmla="*/ 262414 h 262413"/>
              <a:gd name="connsiteX2" fmla="*/ 0 w 185547"/>
              <a:gd name="connsiteY2" fmla="*/ 185547 h 262413"/>
              <a:gd name="connsiteX3" fmla="*/ 185547 w 185547"/>
              <a:gd name="connsiteY3" fmla="*/ 0 h 262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5547" h="262413">
                <a:moveTo>
                  <a:pt x="185547" y="0"/>
                </a:moveTo>
                <a:lnTo>
                  <a:pt x="185547" y="262414"/>
                </a:lnTo>
                <a:cubicBezTo>
                  <a:pt x="113062" y="262414"/>
                  <a:pt x="47434" y="233077"/>
                  <a:pt x="0" y="185547"/>
                </a:cubicBezTo>
                <a:lnTo>
                  <a:pt x="185547" y="0"/>
                </a:lnTo>
                <a:close/>
              </a:path>
            </a:pathLst>
          </a:custGeom>
          <a:solidFill>
            <a:schemeClr val="bg2"/>
          </a:solidFill>
          <a:ln w="6350" cap="flat">
            <a:solidFill>
              <a:schemeClr val="accent5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1" name="Freihandform: Form 128">
            <a:extLst>
              <a:ext uri="{FF2B5EF4-FFF2-40B4-BE49-F238E27FC236}">
                <a16:creationId xmlns:a16="http://schemas.microsoft.com/office/drawing/2014/main" id="{5C46C5DE-BDE6-27F1-72EF-E6A0999A206F}"/>
              </a:ext>
            </a:extLst>
          </p:cNvPr>
          <p:cNvSpPr>
            <a:spLocks/>
          </p:cNvSpPr>
          <p:nvPr/>
        </p:nvSpPr>
        <p:spPr>
          <a:xfrm>
            <a:off x="2795795" y="3777761"/>
            <a:ext cx="356524" cy="252163"/>
          </a:xfrm>
          <a:custGeom>
            <a:avLst/>
            <a:gdLst>
              <a:gd name="connsiteX0" fmla="*/ 262414 w 262413"/>
              <a:gd name="connsiteY0" fmla="*/ 0 h 185546"/>
              <a:gd name="connsiteX1" fmla="*/ 185547 w 262413"/>
              <a:gd name="connsiteY1" fmla="*/ 185547 h 185546"/>
              <a:gd name="connsiteX2" fmla="*/ 0 w 262413"/>
              <a:gd name="connsiteY2" fmla="*/ 0 h 185546"/>
              <a:gd name="connsiteX3" fmla="*/ 262414 w 262413"/>
              <a:gd name="connsiteY3" fmla="*/ 0 h 1855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2413" h="185546">
                <a:moveTo>
                  <a:pt x="262414" y="0"/>
                </a:moveTo>
                <a:cubicBezTo>
                  <a:pt x="262414" y="72485"/>
                  <a:pt x="232982" y="138017"/>
                  <a:pt x="185547" y="185547"/>
                </a:cubicBezTo>
                <a:lnTo>
                  <a:pt x="0" y="0"/>
                </a:lnTo>
                <a:lnTo>
                  <a:pt x="262414" y="0"/>
                </a:lnTo>
                <a:close/>
              </a:path>
            </a:pathLst>
          </a:custGeom>
          <a:solidFill>
            <a:schemeClr val="bg2"/>
          </a:solidFill>
          <a:ln w="6350" cap="flat">
            <a:solidFill>
              <a:schemeClr val="accent5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2" name="Freihandform: Form 129">
            <a:extLst>
              <a:ext uri="{FF2B5EF4-FFF2-40B4-BE49-F238E27FC236}">
                <a16:creationId xmlns:a16="http://schemas.microsoft.com/office/drawing/2014/main" id="{0937BA6E-1E0F-EBC6-7E83-5673BB463226}"/>
              </a:ext>
            </a:extLst>
          </p:cNvPr>
          <p:cNvSpPr>
            <a:spLocks/>
          </p:cNvSpPr>
          <p:nvPr/>
        </p:nvSpPr>
        <p:spPr>
          <a:xfrm>
            <a:off x="2795666" y="3421003"/>
            <a:ext cx="252220" cy="356758"/>
          </a:xfrm>
          <a:custGeom>
            <a:avLst/>
            <a:gdLst>
              <a:gd name="connsiteX0" fmla="*/ 185642 w 185642"/>
              <a:gd name="connsiteY0" fmla="*/ 76867 h 262508"/>
              <a:gd name="connsiteX1" fmla="*/ 95 w 185642"/>
              <a:gd name="connsiteY1" fmla="*/ 262509 h 262508"/>
              <a:gd name="connsiteX2" fmla="*/ 0 w 185642"/>
              <a:gd name="connsiteY2" fmla="*/ 262509 h 262508"/>
              <a:gd name="connsiteX3" fmla="*/ 0 w 185642"/>
              <a:gd name="connsiteY3" fmla="*/ 0 h 262508"/>
              <a:gd name="connsiteX4" fmla="*/ 185642 w 185642"/>
              <a:gd name="connsiteY4" fmla="*/ 76867 h 2625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5642" h="262508">
                <a:moveTo>
                  <a:pt x="185642" y="76867"/>
                </a:moveTo>
                <a:lnTo>
                  <a:pt x="95" y="262509"/>
                </a:lnTo>
                <a:lnTo>
                  <a:pt x="0" y="262509"/>
                </a:lnTo>
                <a:lnTo>
                  <a:pt x="0" y="0"/>
                </a:lnTo>
                <a:cubicBezTo>
                  <a:pt x="72485" y="0"/>
                  <a:pt x="138113" y="29432"/>
                  <a:pt x="185642" y="76867"/>
                </a:cubicBezTo>
                <a:close/>
              </a:path>
            </a:pathLst>
          </a:custGeom>
          <a:solidFill>
            <a:schemeClr val="bg2"/>
          </a:solidFill>
          <a:ln w="6350" cap="flat">
            <a:solidFill>
              <a:schemeClr val="accent5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3" name="Freihandform: Form 130">
            <a:extLst>
              <a:ext uri="{FF2B5EF4-FFF2-40B4-BE49-F238E27FC236}">
                <a16:creationId xmlns:a16="http://schemas.microsoft.com/office/drawing/2014/main" id="{CFACABAE-E685-1A55-A1FC-8E53164621BB}"/>
              </a:ext>
            </a:extLst>
          </p:cNvPr>
          <p:cNvSpPr>
            <a:spLocks/>
          </p:cNvSpPr>
          <p:nvPr/>
        </p:nvSpPr>
        <p:spPr>
          <a:xfrm>
            <a:off x="2543575" y="3421003"/>
            <a:ext cx="252091" cy="356628"/>
          </a:xfrm>
          <a:custGeom>
            <a:avLst/>
            <a:gdLst>
              <a:gd name="connsiteX0" fmla="*/ 185547 w 185547"/>
              <a:gd name="connsiteY0" fmla="*/ 0 h 262413"/>
              <a:gd name="connsiteX1" fmla="*/ 185547 w 185547"/>
              <a:gd name="connsiteY1" fmla="*/ 262414 h 262413"/>
              <a:gd name="connsiteX2" fmla="*/ 0 w 185547"/>
              <a:gd name="connsiteY2" fmla="*/ 76867 h 262413"/>
              <a:gd name="connsiteX3" fmla="*/ 185547 w 185547"/>
              <a:gd name="connsiteY3" fmla="*/ 0 h 262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5547" h="262413">
                <a:moveTo>
                  <a:pt x="185547" y="0"/>
                </a:moveTo>
                <a:lnTo>
                  <a:pt x="185547" y="262414"/>
                </a:lnTo>
                <a:lnTo>
                  <a:pt x="0" y="76867"/>
                </a:lnTo>
                <a:cubicBezTo>
                  <a:pt x="47434" y="29432"/>
                  <a:pt x="113062" y="0"/>
                  <a:pt x="185547" y="0"/>
                </a:cubicBezTo>
                <a:close/>
              </a:path>
            </a:pathLst>
          </a:custGeom>
          <a:solidFill>
            <a:schemeClr val="bg2"/>
          </a:solidFill>
          <a:ln w="6350" cap="flat">
            <a:solidFill>
              <a:schemeClr val="accent5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4" name="Freihandform: Form 131">
            <a:extLst>
              <a:ext uri="{FF2B5EF4-FFF2-40B4-BE49-F238E27FC236}">
                <a16:creationId xmlns:a16="http://schemas.microsoft.com/office/drawing/2014/main" id="{E2BB0B82-9988-78B1-1A97-D5039C399A25}"/>
              </a:ext>
            </a:extLst>
          </p:cNvPr>
          <p:cNvSpPr>
            <a:spLocks/>
          </p:cNvSpPr>
          <p:nvPr/>
        </p:nvSpPr>
        <p:spPr>
          <a:xfrm>
            <a:off x="2439142" y="3525338"/>
            <a:ext cx="356524" cy="252294"/>
          </a:xfrm>
          <a:custGeom>
            <a:avLst/>
            <a:gdLst>
              <a:gd name="connsiteX0" fmla="*/ 262414 w 262413"/>
              <a:gd name="connsiteY0" fmla="*/ 185642 h 185642"/>
              <a:gd name="connsiteX1" fmla="*/ 262414 w 262413"/>
              <a:gd name="connsiteY1" fmla="*/ 185642 h 185642"/>
              <a:gd name="connsiteX2" fmla="*/ 0 w 262413"/>
              <a:gd name="connsiteY2" fmla="*/ 185642 h 185642"/>
              <a:gd name="connsiteX3" fmla="*/ 76867 w 262413"/>
              <a:gd name="connsiteY3" fmla="*/ 0 h 185642"/>
              <a:gd name="connsiteX4" fmla="*/ 262414 w 262413"/>
              <a:gd name="connsiteY4" fmla="*/ 185547 h 1856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62413" h="185642">
                <a:moveTo>
                  <a:pt x="262414" y="185642"/>
                </a:moveTo>
                <a:lnTo>
                  <a:pt x="262414" y="185642"/>
                </a:lnTo>
                <a:cubicBezTo>
                  <a:pt x="262414" y="185642"/>
                  <a:pt x="0" y="185642"/>
                  <a:pt x="0" y="185642"/>
                </a:cubicBezTo>
                <a:cubicBezTo>
                  <a:pt x="0" y="113157"/>
                  <a:pt x="29337" y="47530"/>
                  <a:pt x="76867" y="0"/>
                </a:cubicBezTo>
                <a:lnTo>
                  <a:pt x="262414" y="185547"/>
                </a:lnTo>
                <a:close/>
              </a:path>
            </a:pathLst>
          </a:custGeom>
          <a:solidFill>
            <a:schemeClr val="accent1"/>
          </a:solidFill>
          <a:ln w="6350" cap="flat">
            <a:solidFill>
              <a:schemeClr val="accent5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5" name="Freihandform: Form 132">
            <a:extLst>
              <a:ext uri="{FF2B5EF4-FFF2-40B4-BE49-F238E27FC236}">
                <a16:creationId xmlns:a16="http://schemas.microsoft.com/office/drawing/2014/main" id="{7E64B85E-0F6F-8276-A629-AF02239A54DA}"/>
              </a:ext>
            </a:extLst>
          </p:cNvPr>
          <p:cNvSpPr>
            <a:spLocks/>
          </p:cNvSpPr>
          <p:nvPr/>
        </p:nvSpPr>
        <p:spPr>
          <a:xfrm>
            <a:off x="2795666" y="3777761"/>
            <a:ext cx="252220" cy="356628"/>
          </a:xfrm>
          <a:custGeom>
            <a:avLst/>
            <a:gdLst>
              <a:gd name="connsiteX0" fmla="*/ 185642 w 185642"/>
              <a:gd name="connsiteY0" fmla="*/ 185547 h 262413"/>
              <a:gd name="connsiteX1" fmla="*/ 0 w 185642"/>
              <a:gd name="connsiteY1" fmla="*/ 262414 h 262413"/>
              <a:gd name="connsiteX2" fmla="*/ 0 w 185642"/>
              <a:gd name="connsiteY2" fmla="*/ 0 h 262413"/>
              <a:gd name="connsiteX3" fmla="*/ 95 w 185642"/>
              <a:gd name="connsiteY3" fmla="*/ 0 h 262413"/>
              <a:gd name="connsiteX4" fmla="*/ 185642 w 185642"/>
              <a:gd name="connsiteY4" fmla="*/ 185547 h 262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5642" h="262413">
                <a:moveTo>
                  <a:pt x="185642" y="185547"/>
                </a:moveTo>
                <a:cubicBezTo>
                  <a:pt x="138113" y="233077"/>
                  <a:pt x="72485" y="262414"/>
                  <a:pt x="0" y="262414"/>
                </a:cubicBezTo>
                <a:lnTo>
                  <a:pt x="0" y="0"/>
                </a:lnTo>
                <a:lnTo>
                  <a:pt x="95" y="0"/>
                </a:lnTo>
                <a:lnTo>
                  <a:pt x="185642" y="185547"/>
                </a:lnTo>
                <a:close/>
              </a:path>
            </a:pathLst>
          </a:custGeom>
          <a:solidFill>
            <a:schemeClr val="accent1"/>
          </a:solidFill>
          <a:ln w="6350" cap="flat">
            <a:solidFill>
              <a:schemeClr val="accent5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6" name="Freihandform: Form 133">
            <a:extLst>
              <a:ext uri="{FF2B5EF4-FFF2-40B4-BE49-F238E27FC236}">
                <a16:creationId xmlns:a16="http://schemas.microsoft.com/office/drawing/2014/main" id="{418B9CEB-7313-4D92-D283-7E8EAEFC7C4F}"/>
              </a:ext>
            </a:extLst>
          </p:cNvPr>
          <p:cNvSpPr>
            <a:spLocks/>
          </p:cNvSpPr>
          <p:nvPr/>
        </p:nvSpPr>
        <p:spPr>
          <a:xfrm>
            <a:off x="2439142" y="3777761"/>
            <a:ext cx="356524" cy="252163"/>
          </a:xfrm>
          <a:custGeom>
            <a:avLst/>
            <a:gdLst>
              <a:gd name="connsiteX0" fmla="*/ 262414 w 262413"/>
              <a:gd name="connsiteY0" fmla="*/ 0 h 185546"/>
              <a:gd name="connsiteX1" fmla="*/ 76867 w 262413"/>
              <a:gd name="connsiteY1" fmla="*/ 185547 h 185546"/>
              <a:gd name="connsiteX2" fmla="*/ 0 w 262413"/>
              <a:gd name="connsiteY2" fmla="*/ 0 h 185546"/>
              <a:gd name="connsiteX3" fmla="*/ 262414 w 262413"/>
              <a:gd name="connsiteY3" fmla="*/ 0 h 1855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2413" h="185546">
                <a:moveTo>
                  <a:pt x="262414" y="0"/>
                </a:moveTo>
                <a:lnTo>
                  <a:pt x="76867" y="185547"/>
                </a:lnTo>
                <a:cubicBezTo>
                  <a:pt x="29337" y="138017"/>
                  <a:pt x="0" y="72485"/>
                  <a:pt x="0" y="0"/>
                </a:cubicBezTo>
                <a:lnTo>
                  <a:pt x="262414" y="0"/>
                </a:lnTo>
                <a:close/>
              </a:path>
            </a:pathLst>
          </a:custGeom>
          <a:solidFill>
            <a:schemeClr val="bg2"/>
          </a:solidFill>
          <a:ln w="6350" cap="flat">
            <a:solidFill>
              <a:schemeClr val="accent5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7" name="Freihandform: Form 134">
            <a:extLst>
              <a:ext uri="{FF2B5EF4-FFF2-40B4-BE49-F238E27FC236}">
                <a16:creationId xmlns:a16="http://schemas.microsoft.com/office/drawing/2014/main" id="{14434A66-E383-2481-9784-10FA93E6C4EC}"/>
              </a:ext>
            </a:extLst>
          </p:cNvPr>
          <p:cNvSpPr>
            <a:spLocks/>
          </p:cNvSpPr>
          <p:nvPr/>
        </p:nvSpPr>
        <p:spPr>
          <a:xfrm>
            <a:off x="2795795" y="3525467"/>
            <a:ext cx="356524" cy="252294"/>
          </a:xfrm>
          <a:custGeom>
            <a:avLst/>
            <a:gdLst>
              <a:gd name="connsiteX0" fmla="*/ 262414 w 262413"/>
              <a:gd name="connsiteY0" fmla="*/ 185642 h 185642"/>
              <a:gd name="connsiteX1" fmla="*/ 0 w 262413"/>
              <a:gd name="connsiteY1" fmla="*/ 185642 h 185642"/>
              <a:gd name="connsiteX2" fmla="*/ 185547 w 262413"/>
              <a:gd name="connsiteY2" fmla="*/ 0 h 185642"/>
              <a:gd name="connsiteX3" fmla="*/ 262414 w 262413"/>
              <a:gd name="connsiteY3" fmla="*/ 185642 h 1856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2413" h="185642">
                <a:moveTo>
                  <a:pt x="262414" y="185642"/>
                </a:moveTo>
                <a:lnTo>
                  <a:pt x="0" y="185642"/>
                </a:lnTo>
                <a:lnTo>
                  <a:pt x="185547" y="0"/>
                </a:lnTo>
                <a:cubicBezTo>
                  <a:pt x="232982" y="47530"/>
                  <a:pt x="262414" y="113157"/>
                  <a:pt x="262414" y="185642"/>
                </a:cubicBezTo>
                <a:close/>
              </a:path>
            </a:pathLst>
          </a:custGeom>
          <a:solidFill>
            <a:schemeClr val="bg2"/>
          </a:solidFill>
          <a:ln w="6350" cap="flat">
            <a:solidFill>
              <a:schemeClr val="accent5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8" name="Ellipse 23">
            <a:extLst>
              <a:ext uri="{FF2B5EF4-FFF2-40B4-BE49-F238E27FC236}">
                <a16:creationId xmlns:a16="http://schemas.microsoft.com/office/drawing/2014/main" id="{6889189B-6165-16A1-D732-E4E2C43F8973}"/>
              </a:ext>
            </a:extLst>
          </p:cNvPr>
          <p:cNvSpPr>
            <a:spLocks/>
          </p:cNvSpPr>
          <p:nvPr/>
        </p:nvSpPr>
        <p:spPr bwMode="gray">
          <a:xfrm flipH="1">
            <a:off x="2760072" y="3742028"/>
            <a:ext cx="71318" cy="71339"/>
          </a:xfrm>
          <a:prstGeom prst="ellipse">
            <a:avLst/>
          </a:prstGeom>
          <a:solidFill>
            <a:srgbClr val="FF6600"/>
          </a:solidFill>
          <a:ln w="6350" cap="flat" cmpd="sng" algn="ctr">
            <a:solidFill>
              <a:srgbClr val="000000">
                <a:lumMod val="100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</a:endParaRPr>
          </a:p>
        </p:txBody>
      </p:sp>
      <p:grpSp>
        <p:nvGrpSpPr>
          <p:cNvPr id="59" name="Gruppieren 137">
            <a:extLst>
              <a:ext uri="{FF2B5EF4-FFF2-40B4-BE49-F238E27FC236}">
                <a16:creationId xmlns:a16="http://schemas.microsoft.com/office/drawing/2014/main" id="{185A6C2D-8037-3CE3-A0BE-3BD7E50605AF}"/>
              </a:ext>
            </a:extLst>
          </p:cNvPr>
          <p:cNvGrpSpPr>
            <a:grpSpLocks/>
          </p:cNvGrpSpPr>
          <p:nvPr/>
        </p:nvGrpSpPr>
        <p:grpSpPr>
          <a:xfrm>
            <a:off x="1013114" y="1994562"/>
            <a:ext cx="3565236" cy="3566272"/>
            <a:chOff x="821977" y="1650968"/>
            <a:chExt cx="3947509" cy="3948659"/>
          </a:xfrm>
        </p:grpSpPr>
        <p:cxnSp>
          <p:nvCxnSpPr>
            <p:cNvPr id="60" name="Gerader Verbinder 25">
              <a:extLst>
                <a:ext uri="{FF2B5EF4-FFF2-40B4-BE49-F238E27FC236}">
                  <a16:creationId xmlns:a16="http://schemas.microsoft.com/office/drawing/2014/main" id="{E832FA9D-E7CF-961B-8D7A-A1F82A77B6C8}"/>
                </a:ext>
              </a:extLst>
            </p:cNvPr>
            <p:cNvCxnSpPr>
              <a:cxnSpLocks/>
            </p:cNvCxnSpPr>
            <p:nvPr/>
          </p:nvCxnSpPr>
          <p:spPr bwMode="gray">
            <a:xfrm rot="16200000" flipH="1" flipV="1">
              <a:off x="2795732" y="1651543"/>
              <a:ext cx="0" cy="3947509"/>
            </a:xfrm>
            <a:prstGeom prst="line">
              <a:avLst/>
            </a:prstGeom>
            <a:noFill/>
            <a:ln w="3810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61" name="Gerader Verbinder 26">
              <a:extLst>
                <a:ext uri="{FF2B5EF4-FFF2-40B4-BE49-F238E27FC236}">
                  <a16:creationId xmlns:a16="http://schemas.microsoft.com/office/drawing/2014/main" id="{D67268ED-8ADF-45A3-9A6A-007E1B92973E}"/>
                </a:ext>
              </a:extLst>
            </p:cNvPr>
            <p:cNvCxnSpPr>
              <a:cxnSpLocks/>
            </p:cNvCxnSpPr>
            <p:nvPr/>
          </p:nvCxnSpPr>
          <p:spPr bwMode="gray">
            <a:xfrm rot="2700000" flipH="1" flipV="1">
              <a:off x="2795732" y="1651543"/>
              <a:ext cx="0" cy="3947509"/>
            </a:xfrm>
            <a:prstGeom prst="line">
              <a:avLst/>
            </a:prstGeom>
            <a:noFill/>
            <a:ln w="3810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62" name="Gerader Verbinder 27">
              <a:extLst>
                <a:ext uri="{FF2B5EF4-FFF2-40B4-BE49-F238E27FC236}">
                  <a16:creationId xmlns:a16="http://schemas.microsoft.com/office/drawing/2014/main" id="{4642B786-3D31-B6AF-DD30-E31440572500}"/>
                </a:ext>
              </a:extLst>
            </p:cNvPr>
            <p:cNvCxnSpPr>
              <a:cxnSpLocks/>
            </p:cNvCxnSpPr>
            <p:nvPr/>
          </p:nvCxnSpPr>
          <p:spPr bwMode="gray">
            <a:xfrm rot="18900000" flipH="1" flipV="1">
              <a:off x="2795732" y="1650968"/>
              <a:ext cx="0" cy="3948659"/>
            </a:xfrm>
            <a:prstGeom prst="line">
              <a:avLst/>
            </a:prstGeom>
            <a:noFill/>
            <a:ln w="3810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63" name="Gerader Verbinder 28">
              <a:extLst>
                <a:ext uri="{FF2B5EF4-FFF2-40B4-BE49-F238E27FC236}">
                  <a16:creationId xmlns:a16="http://schemas.microsoft.com/office/drawing/2014/main" id="{AED9F2B7-A095-F155-5FAA-D9FB20839555}"/>
                </a:ext>
              </a:extLst>
            </p:cNvPr>
            <p:cNvCxnSpPr>
              <a:cxnSpLocks/>
            </p:cNvCxnSpPr>
            <p:nvPr/>
          </p:nvCxnSpPr>
          <p:spPr bwMode="gray">
            <a:xfrm flipH="1" flipV="1">
              <a:off x="2795732" y="1650968"/>
              <a:ext cx="0" cy="3948659"/>
            </a:xfrm>
            <a:prstGeom prst="line">
              <a:avLst/>
            </a:prstGeom>
            <a:noFill/>
            <a:ln w="3810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64" name="Ellipse 29">
            <a:extLst>
              <a:ext uri="{FF2B5EF4-FFF2-40B4-BE49-F238E27FC236}">
                <a16:creationId xmlns:a16="http://schemas.microsoft.com/office/drawing/2014/main" id="{8B2E30AA-272D-0547-3176-9F94A5F28B4B}"/>
              </a:ext>
            </a:extLst>
          </p:cNvPr>
          <p:cNvSpPr>
            <a:spLocks/>
          </p:cNvSpPr>
          <p:nvPr/>
        </p:nvSpPr>
        <p:spPr bwMode="gray">
          <a:xfrm flipH="1">
            <a:off x="2760072" y="3742027"/>
            <a:ext cx="71318" cy="71339"/>
          </a:xfrm>
          <a:prstGeom prst="ellipse">
            <a:avLst/>
          </a:prstGeom>
          <a:solidFill>
            <a:schemeClr val="accent5"/>
          </a:solidFill>
          <a:ln w="63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73" name="Inhaltsplatzhalter 2">
            <a:extLst>
              <a:ext uri="{FF2B5EF4-FFF2-40B4-BE49-F238E27FC236}">
                <a16:creationId xmlns:a16="http://schemas.microsoft.com/office/drawing/2014/main" id="{23FD66BF-73FA-7328-DCA9-7127CE238C31}"/>
              </a:ext>
            </a:extLst>
          </p:cNvPr>
          <p:cNvSpPr txBox="1">
            <a:spLocks/>
          </p:cNvSpPr>
          <p:nvPr/>
        </p:nvSpPr>
        <p:spPr>
          <a:xfrm>
            <a:off x="5640238" y="2004697"/>
            <a:ext cx="2616200" cy="58477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Description</a:t>
            </a:r>
          </a:p>
          <a:p>
            <a:pPr>
              <a:spcBef>
                <a:spcPts val="0"/>
              </a:spcBef>
            </a:pPr>
            <a:r>
              <a:rPr lang="en-US" sz="1200"/>
              <a:t>Lorem ipsum dolor sit </a:t>
            </a:r>
            <a:r>
              <a:rPr lang="en-US" sz="1200" err="1"/>
              <a:t>amet</a:t>
            </a:r>
            <a:endParaRPr lang="en-US" sz="1200"/>
          </a:p>
          <a:p>
            <a:pPr>
              <a:spcBef>
                <a:spcPts val="0"/>
              </a:spcBef>
            </a:pPr>
            <a:r>
              <a:rPr lang="en-US" sz="1200" err="1"/>
              <a:t>Consectetur</a:t>
            </a:r>
            <a:r>
              <a:rPr lang="en-US" sz="1200"/>
              <a:t> </a:t>
            </a:r>
            <a:r>
              <a:rPr lang="en-US" sz="1200" err="1"/>
              <a:t>adipiscing</a:t>
            </a:r>
            <a:r>
              <a:rPr lang="en-US" sz="1200"/>
              <a:t> </a:t>
            </a:r>
            <a:r>
              <a:rPr lang="en-US" sz="1200" err="1"/>
              <a:t>elit</a:t>
            </a:r>
            <a:r>
              <a:rPr lang="en-US" sz="1200"/>
              <a:t> </a:t>
            </a:r>
            <a:r>
              <a:rPr lang="en-US" sz="1200" err="1"/>
              <a:t>tempor</a:t>
            </a:r>
            <a:r>
              <a:rPr lang="en-US" sz="1200"/>
              <a:t> </a:t>
            </a:r>
          </a:p>
        </p:txBody>
      </p:sp>
      <p:sp>
        <p:nvSpPr>
          <p:cNvPr id="74" name="Inhaltsplatzhalter 2">
            <a:extLst>
              <a:ext uri="{FF2B5EF4-FFF2-40B4-BE49-F238E27FC236}">
                <a16:creationId xmlns:a16="http://schemas.microsoft.com/office/drawing/2014/main" id="{41F74B2B-3AE7-B297-4E9D-A10E5FBA35A9}"/>
              </a:ext>
            </a:extLst>
          </p:cNvPr>
          <p:cNvSpPr txBox="1">
            <a:spLocks/>
          </p:cNvSpPr>
          <p:nvPr/>
        </p:nvSpPr>
        <p:spPr>
          <a:xfrm>
            <a:off x="5640238" y="2991772"/>
            <a:ext cx="2616200" cy="58477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Description</a:t>
            </a:r>
          </a:p>
          <a:p>
            <a:pPr>
              <a:spcBef>
                <a:spcPts val="0"/>
              </a:spcBef>
            </a:pPr>
            <a:r>
              <a:rPr lang="en-US" sz="1200"/>
              <a:t>Lorem ipsum dolor sit </a:t>
            </a:r>
            <a:r>
              <a:rPr lang="en-US" sz="1200" err="1"/>
              <a:t>amet</a:t>
            </a:r>
            <a:endParaRPr lang="en-US" sz="1200"/>
          </a:p>
          <a:p>
            <a:pPr>
              <a:spcBef>
                <a:spcPts val="0"/>
              </a:spcBef>
            </a:pPr>
            <a:r>
              <a:rPr lang="en-US" sz="1200" err="1"/>
              <a:t>Consectetur</a:t>
            </a:r>
            <a:r>
              <a:rPr lang="en-US" sz="1200"/>
              <a:t> </a:t>
            </a:r>
            <a:r>
              <a:rPr lang="en-US" sz="1200" err="1"/>
              <a:t>adipiscing</a:t>
            </a:r>
            <a:r>
              <a:rPr lang="en-US" sz="1200"/>
              <a:t> </a:t>
            </a:r>
            <a:r>
              <a:rPr lang="en-US" sz="1200" err="1"/>
              <a:t>elit</a:t>
            </a:r>
            <a:r>
              <a:rPr lang="en-US" sz="1200"/>
              <a:t> </a:t>
            </a:r>
            <a:r>
              <a:rPr lang="en-US" sz="1200" err="1"/>
              <a:t>tempor</a:t>
            </a:r>
            <a:r>
              <a:rPr lang="en-US" sz="1200"/>
              <a:t> </a:t>
            </a:r>
          </a:p>
        </p:txBody>
      </p:sp>
      <p:sp>
        <p:nvSpPr>
          <p:cNvPr id="75" name="Inhaltsplatzhalter 2">
            <a:extLst>
              <a:ext uri="{FF2B5EF4-FFF2-40B4-BE49-F238E27FC236}">
                <a16:creationId xmlns:a16="http://schemas.microsoft.com/office/drawing/2014/main" id="{CF4B9F6D-2138-EE0E-5349-CAF0F50F88D0}"/>
              </a:ext>
            </a:extLst>
          </p:cNvPr>
          <p:cNvSpPr txBox="1">
            <a:spLocks/>
          </p:cNvSpPr>
          <p:nvPr/>
        </p:nvSpPr>
        <p:spPr>
          <a:xfrm>
            <a:off x="5640238" y="3978847"/>
            <a:ext cx="2616200" cy="58477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Description</a:t>
            </a:r>
          </a:p>
          <a:p>
            <a:pPr>
              <a:spcBef>
                <a:spcPts val="0"/>
              </a:spcBef>
            </a:pPr>
            <a:r>
              <a:rPr lang="en-US" sz="1200"/>
              <a:t>Lorem ipsum dolor sit </a:t>
            </a:r>
            <a:r>
              <a:rPr lang="en-US" sz="1200" err="1"/>
              <a:t>amet</a:t>
            </a:r>
            <a:endParaRPr lang="en-US" sz="1200"/>
          </a:p>
          <a:p>
            <a:pPr>
              <a:spcBef>
                <a:spcPts val="0"/>
              </a:spcBef>
            </a:pPr>
            <a:r>
              <a:rPr lang="en-US" sz="1200" err="1"/>
              <a:t>Consectetur</a:t>
            </a:r>
            <a:r>
              <a:rPr lang="en-US" sz="1200"/>
              <a:t> </a:t>
            </a:r>
            <a:r>
              <a:rPr lang="en-US" sz="1200" err="1"/>
              <a:t>adipiscing</a:t>
            </a:r>
            <a:r>
              <a:rPr lang="en-US" sz="1200"/>
              <a:t> </a:t>
            </a:r>
            <a:r>
              <a:rPr lang="en-US" sz="1200" err="1"/>
              <a:t>elit</a:t>
            </a:r>
            <a:r>
              <a:rPr lang="en-US" sz="1200"/>
              <a:t> </a:t>
            </a:r>
            <a:r>
              <a:rPr lang="en-US" sz="1200" err="1"/>
              <a:t>tempor</a:t>
            </a:r>
            <a:r>
              <a:rPr lang="en-US" sz="1200"/>
              <a:t> </a:t>
            </a:r>
          </a:p>
        </p:txBody>
      </p:sp>
      <p:sp>
        <p:nvSpPr>
          <p:cNvPr id="76" name="Inhaltsplatzhalter 2">
            <a:extLst>
              <a:ext uri="{FF2B5EF4-FFF2-40B4-BE49-F238E27FC236}">
                <a16:creationId xmlns:a16="http://schemas.microsoft.com/office/drawing/2014/main" id="{7D2C16A5-7F02-CA9A-E3DC-6EC288875813}"/>
              </a:ext>
            </a:extLst>
          </p:cNvPr>
          <p:cNvSpPr txBox="1">
            <a:spLocks/>
          </p:cNvSpPr>
          <p:nvPr/>
        </p:nvSpPr>
        <p:spPr>
          <a:xfrm>
            <a:off x="5640238" y="4965922"/>
            <a:ext cx="2616200" cy="58477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Description</a:t>
            </a:r>
          </a:p>
          <a:p>
            <a:pPr>
              <a:spcBef>
                <a:spcPts val="0"/>
              </a:spcBef>
            </a:pPr>
            <a:r>
              <a:rPr lang="en-US" sz="1200"/>
              <a:t>Lorem ipsum dolor sit </a:t>
            </a:r>
            <a:r>
              <a:rPr lang="en-US" sz="1200" err="1"/>
              <a:t>amet</a:t>
            </a:r>
            <a:endParaRPr lang="en-US" sz="1200"/>
          </a:p>
          <a:p>
            <a:pPr>
              <a:spcBef>
                <a:spcPts val="0"/>
              </a:spcBef>
            </a:pPr>
            <a:r>
              <a:rPr lang="en-US" sz="1200" err="1"/>
              <a:t>Consectetur</a:t>
            </a:r>
            <a:r>
              <a:rPr lang="en-US" sz="1200"/>
              <a:t> </a:t>
            </a:r>
            <a:r>
              <a:rPr lang="en-US" sz="1200" err="1"/>
              <a:t>adipiscing</a:t>
            </a:r>
            <a:r>
              <a:rPr lang="en-US" sz="1200"/>
              <a:t> </a:t>
            </a:r>
            <a:r>
              <a:rPr lang="en-US" sz="1200" err="1"/>
              <a:t>elit</a:t>
            </a:r>
            <a:r>
              <a:rPr lang="en-US" sz="1200"/>
              <a:t> </a:t>
            </a:r>
            <a:r>
              <a:rPr lang="en-US" sz="1200" err="1"/>
              <a:t>tempor</a:t>
            </a:r>
            <a:r>
              <a:rPr lang="en-US" sz="1200"/>
              <a:t> </a:t>
            </a:r>
          </a:p>
        </p:txBody>
      </p:sp>
      <p:sp>
        <p:nvSpPr>
          <p:cNvPr id="77" name="Inhaltsplatzhalter 2">
            <a:extLst>
              <a:ext uri="{FF2B5EF4-FFF2-40B4-BE49-F238E27FC236}">
                <a16:creationId xmlns:a16="http://schemas.microsoft.com/office/drawing/2014/main" id="{C11BB984-1ACD-B2A0-034F-90792B66E057}"/>
              </a:ext>
            </a:extLst>
          </p:cNvPr>
          <p:cNvSpPr txBox="1">
            <a:spLocks/>
          </p:cNvSpPr>
          <p:nvPr/>
        </p:nvSpPr>
        <p:spPr>
          <a:xfrm>
            <a:off x="8520667" y="2004697"/>
            <a:ext cx="2616200" cy="58477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Description</a:t>
            </a:r>
          </a:p>
          <a:p>
            <a:pPr>
              <a:spcBef>
                <a:spcPts val="0"/>
              </a:spcBef>
            </a:pPr>
            <a:r>
              <a:rPr lang="en-US" sz="1200"/>
              <a:t>Lorem ipsum dolor sit </a:t>
            </a:r>
            <a:r>
              <a:rPr lang="en-US" sz="1200" err="1"/>
              <a:t>amet</a:t>
            </a:r>
            <a:endParaRPr lang="en-US" sz="1200"/>
          </a:p>
          <a:p>
            <a:pPr>
              <a:spcBef>
                <a:spcPts val="0"/>
              </a:spcBef>
            </a:pPr>
            <a:r>
              <a:rPr lang="en-US" sz="1200" err="1"/>
              <a:t>Consectetur</a:t>
            </a:r>
            <a:r>
              <a:rPr lang="en-US" sz="1200"/>
              <a:t> </a:t>
            </a:r>
            <a:r>
              <a:rPr lang="en-US" sz="1200" err="1"/>
              <a:t>adipiscing</a:t>
            </a:r>
            <a:r>
              <a:rPr lang="en-US" sz="1200"/>
              <a:t> </a:t>
            </a:r>
            <a:r>
              <a:rPr lang="en-US" sz="1200" err="1"/>
              <a:t>elit</a:t>
            </a:r>
            <a:r>
              <a:rPr lang="en-US" sz="1200"/>
              <a:t> </a:t>
            </a:r>
            <a:r>
              <a:rPr lang="en-US" sz="1200" err="1"/>
              <a:t>tempor</a:t>
            </a:r>
            <a:r>
              <a:rPr lang="en-US" sz="1200"/>
              <a:t> </a:t>
            </a:r>
          </a:p>
        </p:txBody>
      </p:sp>
      <p:sp>
        <p:nvSpPr>
          <p:cNvPr id="78" name="Inhaltsplatzhalter 2">
            <a:extLst>
              <a:ext uri="{FF2B5EF4-FFF2-40B4-BE49-F238E27FC236}">
                <a16:creationId xmlns:a16="http://schemas.microsoft.com/office/drawing/2014/main" id="{34C07BFF-5FC2-B811-0757-3CA4270A58CC}"/>
              </a:ext>
            </a:extLst>
          </p:cNvPr>
          <p:cNvSpPr txBox="1">
            <a:spLocks/>
          </p:cNvSpPr>
          <p:nvPr/>
        </p:nvSpPr>
        <p:spPr>
          <a:xfrm>
            <a:off x="8520667" y="2991772"/>
            <a:ext cx="2616200" cy="58477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Description</a:t>
            </a:r>
          </a:p>
          <a:p>
            <a:pPr>
              <a:spcBef>
                <a:spcPts val="0"/>
              </a:spcBef>
            </a:pPr>
            <a:r>
              <a:rPr lang="en-US" sz="1200"/>
              <a:t>Lorem ipsum dolor sit </a:t>
            </a:r>
            <a:r>
              <a:rPr lang="en-US" sz="1200" err="1"/>
              <a:t>amet</a:t>
            </a:r>
            <a:endParaRPr lang="en-US" sz="1200"/>
          </a:p>
          <a:p>
            <a:pPr>
              <a:spcBef>
                <a:spcPts val="0"/>
              </a:spcBef>
            </a:pPr>
            <a:r>
              <a:rPr lang="en-US" sz="1200" err="1"/>
              <a:t>Consectetur</a:t>
            </a:r>
            <a:r>
              <a:rPr lang="en-US" sz="1200"/>
              <a:t> </a:t>
            </a:r>
            <a:r>
              <a:rPr lang="en-US" sz="1200" err="1"/>
              <a:t>adipiscing</a:t>
            </a:r>
            <a:r>
              <a:rPr lang="en-US" sz="1200"/>
              <a:t> </a:t>
            </a:r>
            <a:r>
              <a:rPr lang="en-US" sz="1200" err="1"/>
              <a:t>elit</a:t>
            </a:r>
            <a:r>
              <a:rPr lang="en-US" sz="1200"/>
              <a:t> </a:t>
            </a:r>
            <a:r>
              <a:rPr lang="en-US" sz="1200" err="1"/>
              <a:t>tempor</a:t>
            </a:r>
            <a:r>
              <a:rPr lang="en-US" sz="1200"/>
              <a:t> </a:t>
            </a:r>
          </a:p>
        </p:txBody>
      </p:sp>
      <p:sp>
        <p:nvSpPr>
          <p:cNvPr id="79" name="Inhaltsplatzhalter 2">
            <a:extLst>
              <a:ext uri="{FF2B5EF4-FFF2-40B4-BE49-F238E27FC236}">
                <a16:creationId xmlns:a16="http://schemas.microsoft.com/office/drawing/2014/main" id="{956FDE7D-C844-6771-AA05-25F247C756CA}"/>
              </a:ext>
            </a:extLst>
          </p:cNvPr>
          <p:cNvSpPr txBox="1">
            <a:spLocks/>
          </p:cNvSpPr>
          <p:nvPr/>
        </p:nvSpPr>
        <p:spPr>
          <a:xfrm>
            <a:off x="8520667" y="3978847"/>
            <a:ext cx="2616200" cy="58477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Description</a:t>
            </a:r>
          </a:p>
          <a:p>
            <a:pPr>
              <a:spcBef>
                <a:spcPts val="0"/>
              </a:spcBef>
            </a:pPr>
            <a:r>
              <a:rPr lang="en-US" sz="1200"/>
              <a:t>Lorem ipsum dolor sit </a:t>
            </a:r>
            <a:r>
              <a:rPr lang="en-US" sz="1200" err="1"/>
              <a:t>amet</a:t>
            </a:r>
            <a:endParaRPr lang="en-US" sz="1200"/>
          </a:p>
          <a:p>
            <a:pPr>
              <a:spcBef>
                <a:spcPts val="0"/>
              </a:spcBef>
            </a:pPr>
            <a:r>
              <a:rPr lang="en-US" sz="1200" err="1"/>
              <a:t>Consectetur</a:t>
            </a:r>
            <a:r>
              <a:rPr lang="en-US" sz="1200"/>
              <a:t> </a:t>
            </a:r>
            <a:r>
              <a:rPr lang="en-US" sz="1200" err="1"/>
              <a:t>adipiscing</a:t>
            </a:r>
            <a:r>
              <a:rPr lang="en-US" sz="1200"/>
              <a:t> </a:t>
            </a:r>
            <a:r>
              <a:rPr lang="en-US" sz="1200" err="1"/>
              <a:t>elit</a:t>
            </a:r>
            <a:r>
              <a:rPr lang="en-US" sz="1200"/>
              <a:t> </a:t>
            </a:r>
            <a:r>
              <a:rPr lang="en-US" sz="1200" err="1"/>
              <a:t>tempor</a:t>
            </a:r>
            <a:r>
              <a:rPr lang="en-US" sz="1200"/>
              <a:t> </a:t>
            </a:r>
          </a:p>
        </p:txBody>
      </p:sp>
      <p:sp>
        <p:nvSpPr>
          <p:cNvPr id="80" name="Inhaltsplatzhalter 2">
            <a:extLst>
              <a:ext uri="{FF2B5EF4-FFF2-40B4-BE49-F238E27FC236}">
                <a16:creationId xmlns:a16="http://schemas.microsoft.com/office/drawing/2014/main" id="{68961B8F-1A25-1410-656E-E226189C1677}"/>
              </a:ext>
            </a:extLst>
          </p:cNvPr>
          <p:cNvSpPr txBox="1">
            <a:spLocks/>
          </p:cNvSpPr>
          <p:nvPr/>
        </p:nvSpPr>
        <p:spPr>
          <a:xfrm>
            <a:off x="8520667" y="4965922"/>
            <a:ext cx="2616200" cy="58477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Description</a:t>
            </a:r>
          </a:p>
          <a:p>
            <a:pPr>
              <a:spcBef>
                <a:spcPts val="0"/>
              </a:spcBef>
            </a:pPr>
            <a:r>
              <a:rPr lang="en-US" sz="1200"/>
              <a:t>Lorem ipsum dolor sit </a:t>
            </a:r>
            <a:r>
              <a:rPr lang="en-US" sz="1200" err="1"/>
              <a:t>amet</a:t>
            </a:r>
            <a:endParaRPr lang="en-US" sz="1200"/>
          </a:p>
          <a:p>
            <a:pPr>
              <a:spcBef>
                <a:spcPts val="0"/>
              </a:spcBef>
            </a:pPr>
            <a:r>
              <a:rPr lang="en-US" sz="1200" err="1"/>
              <a:t>Consectetur</a:t>
            </a:r>
            <a:r>
              <a:rPr lang="en-US" sz="1200"/>
              <a:t> </a:t>
            </a:r>
            <a:r>
              <a:rPr lang="en-US" sz="1200" err="1"/>
              <a:t>adipiscing</a:t>
            </a:r>
            <a:r>
              <a:rPr lang="en-US" sz="1200"/>
              <a:t> </a:t>
            </a:r>
            <a:r>
              <a:rPr lang="en-US" sz="1200" err="1"/>
              <a:t>elit</a:t>
            </a:r>
            <a:r>
              <a:rPr lang="en-US" sz="1200"/>
              <a:t> </a:t>
            </a:r>
            <a:r>
              <a:rPr lang="en-US" sz="1200" err="1"/>
              <a:t>tempor</a:t>
            </a:r>
            <a:r>
              <a:rPr lang="en-US" sz="1200"/>
              <a:t> </a:t>
            </a:r>
          </a:p>
        </p:txBody>
      </p:sp>
      <p:sp>
        <p:nvSpPr>
          <p:cNvPr id="66" name="Text Placeholder 15">
            <a:extLst>
              <a:ext uri="{FF2B5EF4-FFF2-40B4-BE49-F238E27FC236}">
                <a16:creationId xmlns:a16="http://schemas.microsoft.com/office/drawing/2014/main" id="{FD099774-119E-6F83-C4B3-CB4A618B5055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1780937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</a:t>
            </a:r>
            <a:r>
              <a:rPr lang="en-US" sz="1000">
                <a:solidFill>
                  <a:schemeClr val="tx2"/>
                </a:solidFill>
              </a:rPr>
              <a:t>sunbursts, diagrams</a:t>
            </a:r>
          </a:p>
        </p:txBody>
      </p:sp>
    </p:spTree>
    <p:extLst>
      <p:ext uri="{BB962C8B-B14F-4D97-AF65-F5344CB8AC3E}">
        <p14:creationId xmlns:p14="http://schemas.microsoft.com/office/powerpoint/2010/main" val="5459365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